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8" r:id="rId1"/>
    <p:sldMasterId id="2147483852" r:id="rId2"/>
    <p:sldMasterId id="2147483876" r:id="rId3"/>
  </p:sldMasterIdLst>
  <p:notesMasterIdLst>
    <p:notesMasterId r:id="rId14"/>
  </p:notesMasterIdLst>
  <p:sldIdLst>
    <p:sldId id="257" r:id="rId4"/>
    <p:sldId id="269" r:id="rId5"/>
    <p:sldId id="283" r:id="rId6"/>
    <p:sldId id="277" r:id="rId7"/>
    <p:sldId id="278" r:id="rId8"/>
    <p:sldId id="267" r:id="rId9"/>
    <p:sldId id="268" r:id="rId10"/>
    <p:sldId id="281" r:id="rId11"/>
    <p:sldId id="279" r:id="rId12"/>
    <p:sldId id="280" r:id="rId13"/>
  </p:sldIdLst>
  <p:sldSz cx="9144000" cy="5143500" type="screen16x9"/>
  <p:notesSz cx="6805613" cy="993933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440" autoAdjust="0"/>
    <p:restoredTop sz="92230" autoAdjust="0"/>
  </p:normalViewPr>
  <p:slideViewPr>
    <p:cSldViewPr>
      <p:cViewPr varScale="1">
        <p:scale>
          <a:sx n="142" d="100"/>
          <a:sy n="142" d="100"/>
        </p:scale>
        <p:origin x="288" y="10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hyperlink" Target="http://www.rzd.pass.ru/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41E2BC3-FE46-4124-A0D7-6444E457CED8}" type="doc">
      <dgm:prSet loTypeId="urn:microsoft.com/office/officeart/2005/8/layout/hProcess4" loCatId="process" qsTypeId="urn:microsoft.com/office/officeart/2005/8/quickstyle/simple2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E519F94C-5615-46A1-ACC7-091ADEA2BE61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b="1" dirty="0" smtClean="0">
              <a:solidFill>
                <a:schemeClr val="tx1"/>
              </a:solidFill>
            </a:rPr>
            <a:t>До 12 лет</a:t>
          </a:r>
          <a:endParaRPr lang="ru-RU" sz="1400" b="1" dirty="0">
            <a:solidFill>
              <a:schemeClr val="tx1"/>
            </a:solidFill>
          </a:endParaRPr>
        </a:p>
      </dgm:t>
    </dgm:pt>
    <dgm:pt modelId="{A84BC6F8-C879-4626-A6D8-3D5B747E0765}" type="parTrans" cxnId="{1ECE05FD-88E1-4F00-893D-28F0747A2D85}">
      <dgm:prSet/>
      <dgm:spPr/>
      <dgm:t>
        <a:bodyPr/>
        <a:lstStyle/>
        <a:p>
          <a:endParaRPr lang="ru-RU"/>
        </a:p>
      </dgm:t>
    </dgm:pt>
    <dgm:pt modelId="{EF111826-E893-4FDF-BE25-5FB715D892AE}" type="sibTrans" cxnId="{1ECE05FD-88E1-4F00-893D-28F0747A2D85}">
      <dgm:prSet/>
      <dgm:spPr>
        <a:noFill/>
      </dgm:spPr>
      <dgm:t>
        <a:bodyPr/>
        <a:lstStyle/>
        <a:p>
          <a:endParaRPr lang="ru-RU"/>
        </a:p>
      </dgm:t>
    </dgm:pt>
    <dgm:pt modelId="{4CA6763B-48C4-4FE0-AC77-C2A378CC860E}">
      <dgm:prSet phldrT="[Текст]"/>
      <dgm:spPr>
        <a:ln>
          <a:solidFill>
            <a:schemeClr val="accent3">
              <a:lumMod val="75000"/>
            </a:schemeClr>
          </a:solidFill>
        </a:ln>
      </dgm:spPr>
      <dgm:t>
        <a:bodyPr/>
        <a:lstStyle/>
        <a:p>
          <a:r>
            <a:rPr lang="ru-RU" dirty="0" smtClean="0"/>
            <a:t>34 вагона</a:t>
          </a:r>
          <a:endParaRPr lang="ru-RU" dirty="0"/>
        </a:p>
      </dgm:t>
    </dgm:pt>
    <dgm:pt modelId="{18C02DF2-C8AB-49C9-9847-6EFA83FFCAA3}" type="parTrans" cxnId="{3748ADDB-3972-4A6F-B62B-851768A01FFC}">
      <dgm:prSet/>
      <dgm:spPr/>
      <dgm:t>
        <a:bodyPr/>
        <a:lstStyle/>
        <a:p>
          <a:endParaRPr lang="ru-RU"/>
        </a:p>
      </dgm:t>
    </dgm:pt>
    <dgm:pt modelId="{13117A0A-11B9-496D-995C-D0179D21D029}" type="sibTrans" cxnId="{3748ADDB-3972-4A6F-B62B-851768A01FFC}">
      <dgm:prSet/>
      <dgm:spPr/>
      <dgm:t>
        <a:bodyPr/>
        <a:lstStyle/>
        <a:p>
          <a:endParaRPr lang="ru-RU"/>
        </a:p>
      </dgm:t>
    </dgm:pt>
    <dgm:pt modelId="{431864FB-BE68-437E-94C3-5DC8376DD1AA}">
      <dgm:prSet phldrT="[Текст]"/>
      <dgm:spPr>
        <a:ln>
          <a:solidFill>
            <a:schemeClr val="accent3">
              <a:lumMod val="75000"/>
            </a:schemeClr>
          </a:solidFill>
        </a:ln>
      </dgm:spPr>
      <dgm:t>
        <a:bodyPr/>
        <a:lstStyle/>
        <a:p>
          <a:r>
            <a:rPr lang="ru-RU" dirty="0" smtClean="0"/>
            <a:t>15,8%</a:t>
          </a:r>
          <a:endParaRPr lang="ru-RU" dirty="0"/>
        </a:p>
      </dgm:t>
    </dgm:pt>
    <dgm:pt modelId="{64D92D46-A97C-4AC9-9C46-49C7EDF16278}" type="parTrans" cxnId="{431F6A37-310D-45AA-AF3F-C2F3AFD11193}">
      <dgm:prSet/>
      <dgm:spPr/>
      <dgm:t>
        <a:bodyPr/>
        <a:lstStyle/>
        <a:p>
          <a:endParaRPr lang="ru-RU"/>
        </a:p>
      </dgm:t>
    </dgm:pt>
    <dgm:pt modelId="{3B5090F9-5613-420E-980B-2E2BEF76EE16}" type="sibTrans" cxnId="{431F6A37-310D-45AA-AF3F-C2F3AFD11193}">
      <dgm:prSet/>
      <dgm:spPr/>
      <dgm:t>
        <a:bodyPr/>
        <a:lstStyle/>
        <a:p>
          <a:endParaRPr lang="ru-RU"/>
        </a:p>
      </dgm:t>
    </dgm:pt>
    <dgm:pt modelId="{573781FE-9DB6-4BF3-8FC7-57C9B8CFE3E8}">
      <dgm:prSet phldrT="[Текст]"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b="1" dirty="0" smtClean="0">
              <a:solidFill>
                <a:schemeClr val="tx1"/>
              </a:solidFill>
            </a:rPr>
            <a:t>От 12  до 20 лет </a:t>
          </a:r>
          <a:endParaRPr lang="ru-RU" sz="1400" b="1" dirty="0">
            <a:solidFill>
              <a:schemeClr val="tx1"/>
            </a:solidFill>
          </a:endParaRPr>
        </a:p>
      </dgm:t>
    </dgm:pt>
    <dgm:pt modelId="{9BDAAADE-837A-493C-ABA6-D34F081ADC65}" type="parTrans" cxnId="{FBE6D556-762C-4221-AA1D-BA37C2A2656C}">
      <dgm:prSet/>
      <dgm:spPr/>
      <dgm:t>
        <a:bodyPr/>
        <a:lstStyle/>
        <a:p>
          <a:endParaRPr lang="ru-RU"/>
        </a:p>
      </dgm:t>
    </dgm:pt>
    <dgm:pt modelId="{D3639124-1F7C-4218-9458-2D7A70AC2703}" type="sibTrans" cxnId="{FBE6D556-762C-4221-AA1D-BA37C2A2656C}">
      <dgm:prSet/>
      <dgm:spPr>
        <a:noFill/>
      </dgm:spPr>
      <dgm:t>
        <a:bodyPr/>
        <a:lstStyle/>
        <a:p>
          <a:endParaRPr lang="ru-RU"/>
        </a:p>
      </dgm:t>
    </dgm:pt>
    <dgm:pt modelId="{95EC6868-C4F0-446A-B339-557A26B04CED}">
      <dgm:prSet phldrT="[Текст]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r>
            <a:rPr lang="ru-RU" dirty="0" smtClean="0"/>
            <a:t>30 вагонов</a:t>
          </a:r>
          <a:endParaRPr lang="ru-RU" dirty="0"/>
        </a:p>
      </dgm:t>
    </dgm:pt>
    <dgm:pt modelId="{E545AFF9-8ACF-4F91-A82F-38ADAD55BB51}" type="parTrans" cxnId="{E7271B2D-CB9A-4993-828A-46BF21C204D9}">
      <dgm:prSet/>
      <dgm:spPr/>
      <dgm:t>
        <a:bodyPr/>
        <a:lstStyle/>
        <a:p>
          <a:endParaRPr lang="ru-RU"/>
        </a:p>
      </dgm:t>
    </dgm:pt>
    <dgm:pt modelId="{CCBC856B-BC75-457C-B922-4EA170DF3BED}" type="sibTrans" cxnId="{E7271B2D-CB9A-4993-828A-46BF21C204D9}">
      <dgm:prSet/>
      <dgm:spPr/>
      <dgm:t>
        <a:bodyPr/>
        <a:lstStyle/>
        <a:p>
          <a:endParaRPr lang="ru-RU"/>
        </a:p>
      </dgm:t>
    </dgm:pt>
    <dgm:pt modelId="{F9F1F9CD-F725-4133-AC07-EBBFA2B50D1B}">
      <dgm:prSet phldrT="[Текст]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r>
            <a:rPr lang="ru-RU" dirty="0" smtClean="0"/>
            <a:t>13,6 %</a:t>
          </a:r>
          <a:endParaRPr lang="ru-RU" dirty="0"/>
        </a:p>
      </dgm:t>
    </dgm:pt>
    <dgm:pt modelId="{3981D44E-04B1-4D9A-A0E8-C5F716C686E5}" type="parTrans" cxnId="{55526A52-06D1-41CC-B560-4D8FC70ACEE3}">
      <dgm:prSet/>
      <dgm:spPr/>
      <dgm:t>
        <a:bodyPr/>
        <a:lstStyle/>
        <a:p>
          <a:endParaRPr lang="ru-RU"/>
        </a:p>
      </dgm:t>
    </dgm:pt>
    <dgm:pt modelId="{BC21F94D-2DA5-4CB6-B1E3-13E25A4564BE}" type="sibTrans" cxnId="{55526A52-06D1-41CC-B560-4D8FC70ACEE3}">
      <dgm:prSet/>
      <dgm:spPr/>
      <dgm:t>
        <a:bodyPr/>
        <a:lstStyle/>
        <a:p>
          <a:endParaRPr lang="ru-RU"/>
        </a:p>
      </dgm:t>
    </dgm:pt>
    <dgm:pt modelId="{E6ED6ADA-94A1-4769-93C4-7C120431DEDF}">
      <dgm:prSet phldrT="[Текст]" custT="1"/>
      <dgm:spPr>
        <a:solidFill>
          <a:srgbClr val="FBC99F"/>
        </a:solidFill>
      </dgm:spPr>
      <dgm:t>
        <a:bodyPr/>
        <a:lstStyle/>
        <a:p>
          <a:r>
            <a:rPr lang="ru-RU" sz="1400" b="1" smtClean="0">
              <a:solidFill>
                <a:schemeClr val="tx1"/>
              </a:solidFill>
            </a:rPr>
            <a:t>От 20  до 28 лет</a:t>
          </a:r>
          <a:endParaRPr lang="ru-RU" sz="1400" b="1" dirty="0">
            <a:solidFill>
              <a:schemeClr val="tx1"/>
            </a:solidFill>
          </a:endParaRPr>
        </a:p>
      </dgm:t>
    </dgm:pt>
    <dgm:pt modelId="{943918C9-A49C-4687-B3B4-C9BBC3C318A1}" type="parTrans" cxnId="{FA1D8B83-2459-46D0-A0AA-AC168149355A}">
      <dgm:prSet/>
      <dgm:spPr/>
      <dgm:t>
        <a:bodyPr/>
        <a:lstStyle/>
        <a:p>
          <a:endParaRPr lang="ru-RU"/>
        </a:p>
      </dgm:t>
    </dgm:pt>
    <dgm:pt modelId="{63106B99-5AB6-44DD-9251-836D0268B264}" type="sibTrans" cxnId="{FA1D8B83-2459-46D0-A0AA-AC168149355A}">
      <dgm:prSet/>
      <dgm:spPr>
        <a:noFill/>
      </dgm:spPr>
      <dgm:t>
        <a:bodyPr/>
        <a:lstStyle/>
        <a:p>
          <a:endParaRPr lang="ru-RU"/>
        </a:p>
      </dgm:t>
    </dgm:pt>
    <dgm:pt modelId="{95D468D6-DB98-4676-A098-5DDFEC169C99}">
      <dgm:prSet phldrT="[Текст]">
        <dgm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r>
            <a:rPr lang="ru-RU" dirty="0" smtClean="0"/>
            <a:t>119 вагонов </a:t>
          </a:r>
          <a:endParaRPr lang="ru-RU" dirty="0"/>
        </a:p>
      </dgm:t>
    </dgm:pt>
    <dgm:pt modelId="{7621A5AA-FE26-48E0-B589-49CC1B9D814A}" type="parTrans" cxnId="{EF9ACD77-C1D0-44EB-997D-F65184343378}">
      <dgm:prSet/>
      <dgm:spPr/>
      <dgm:t>
        <a:bodyPr/>
        <a:lstStyle/>
        <a:p>
          <a:endParaRPr lang="ru-RU"/>
        </a:p>
      </dgm:t>
    </dgm:pt>
    <dgm:pt modelId="{A7E2D8FF-C993-4552-B7DF-61AE7761F506}" type="sibTrans" cxnId="{EF9ACD77-C1D0-44EB-997D-F65184343378}">
      <dgm:prSet/>
      <dgm:spPr/>
      <dgm:t>
        <a:bodyPr/>
        <a:lstStyle/>
        <a:p>
          <a:endParaRPr lang="ru-RU"/>
        </a:p>
      </dgm:t>
    </dgm:pt>
    <dgm:pt modelId="{A6EC4303-1504-45BF-939E-0E8AC233A919}">
      <dgm:prSet phldrT="[Текст]">
        <dgm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r>
            <a:rPr lang="ru-RU" dirty="0" smtClean="0"/>
            <a:t>54,8%</a:t>
          </a:r>
          <a:endParaRPr lang="ru-RU" dirty="0"/>
        </a:p>
      </dgm:t>
    </dgm:pt>
    <dgm:pt modelId="{C8DA57BC-97C2-4C7C-9099-254FCE88878E}" type="parTrans" cxnId="{6C493459-8BF5-488B-9D8E-34C56017C46D}">
      <dgm:prSet/>
      <dgm:spPr/>
      <dgm:t>
        <a:bodyPr/>
        <a:lstStyle/>
        <a:p>
          <a:endParaRPr lang="ru-RU"/>
        </a:p>
      </dgm:t>
    </dgm:pt>
    <dgm:pt modelId="{65F28B16-575B-4DF8-B978-3BC9348CCB14}" type="sibTrans" cxnId="{6C493459-8BF5-488B-9D8E-34C56017C46D}">
      <dgm:prSet/>
      <dgm:spPr/>
      <dgm:t>
        <a:bodyPr/>
        <a:lstStyle/>
        <a:p>
          <a:endParaRPr lang="ru-RU"/>
        </a:p>
      </dgm:t>
    </dgm:pt>
    <dgm:pt modelId="{419EE73E-4F5B-47E3-9230-3EB00631235F}">
      <dgm:prSet phldrT="[Текст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b="1" dirty="0" smtClean="0">
              <a:solidFill>
                <a:schemeClr val="tx1"/>
              </a:solidFill>
            </a:rPr>
            <a:t>Старше 28 лет</a:t>
          </a:r>
          <a:endParaRPr lang="ru-RU" sz="1400" b="1" dirty="0">
            <a:solidFill>
              <a:schemeClr val="tx1"/>
            </a:solidFill>
          </a:endParaRPr>
        </a:p>
      </dgm:t>
    </dgm:pt>
    <dgm:pt modelId="{77528EF2-4A2E-4065-BDB2-AB0A88E0BB73}" type="parTrans" cxnId="{340B337A-8BA1-468D-8349-BD25CEA72C2F}">
      <dgm:prSet/>
      <dgm:spPr/>
      <dgm:t>
        <a:bodyPr/>
        <a:lstStyle/>
        <a:p>
          <a:endParaRPr lang="ru-RU"/>
        </a:p>
      </dgm:t>
    </dgm:pt>
    <dgm:pt modelId="{37238E96-DB0D-49F0-B355-E04A8BEC18AE}" type="sibTrans" cxnId="{340B337A-8BA1-468D-8349-BD25CEA72C2F}">
      <dgm:prSet/>
      <dgm:spPr/>
      <dgm:t>
        <a:bodyPr/>
        <a:lstStyle/>
        <a:p>
          <a:endParaRPr lang="ru-RU"/>
        </a:p>
      </dgm:t>
    </dgm:pt>
    <dgm:pt modelId="{FC9431C5-6E38-41D3-8E41-6D93D8C6959A}">
      <dgm:prSet phldrT="[Текст]"/>
      <dgm:spPr>
        <a:ln>
          <a:solidFill>
            <a:srgbClr val="C00000"/>
          </a:solidFill>
        </a:ln>
      </dgm:spPr>
      <dgm:t>
        <a:bodyPr/>
        <a:lstStyle/>
        <a:p>
          <a:r>
            <a:rPr lang="ru-RU" dirty="0" smtClean="0"/>
            <a:t>34 вагона </a:t>
          </a:r>
          <a:endParaRPr lang="ru-RU" dirty="0"/>
        </a:p>
      </dgm:t>
    </dgm:pt>
    <dgm:pt modelId="{C9F423E6-AFDE-42AB-B03A-2653576185BC}" type="parTrans" cxnId="{0FED3741-6672-4BA0-ADA5-F9E174421DB4}">
      <dgm:prSet/>
      <dgm:spPr/>
      <dgm:t>
        <a:bodyPr/>
        <a:lstStyle/>
        <a:p>
          <a:endParaRPr lang="ru-RU"/>
        </a:p>
      </dgm:t>
    </dgm:pt>
    <dgm:pt modelId="{2C0A1FEA-8146-42DF-AD5F-0AC6BE634126}" type="sibTrans" cxnId="{0FED3741-6672-4BA0-ADA5-F9E174421DB4}">
      <dgm:prSet/>
      <dgm:spPr/>
      <dgm:t>
        <a:bodyPr/>
        <a:lstStyle/>
        <a:p>
          <a:endParaRPr lang="ru-RU"/>
        </a:p>
      </dgm:t>
    </dgm:pt>
    <dgm:pt modelId="{80A81FC5-FB22-40E3-A577-41BBA8502222}">
      <dgm:prSet phldrT="[Текст]"/>
      <dgm:spPr>
        <a:ln>
          <a:solidFill>
            <a:srgbClr val="C00000"/>
          </a:solidFill>
        </a:ln>
      </dgm:spPr>
      <dgm:t>
        <a:bodyPr/>
        <a:lstStyle/>
        <a:p>
          <a:r>
            <a:rPr lang="ru-RU" dirty="0" smtClean="0"/>
            <a:t>15,8 %</a:t>
          </a:r>
          <a:endParaRPr lang="ru-RU" dirty="0"/>
        </a:p>
      </dgm:t>
    </dgm:pt>
    <dgm:pt modelId="{729E602B-24D1-4B38-8919-DCF421CA0FB7}" type="parTrans" cxnId="{4FD0DD4F-B572-4C08-8745-5A4A37735933}">
      <dgm:prSet/>
      <dgm:spPr/>
      <dgm:t>
        <a:bodyPr/>
        <a:lstStyle/>
        <a:p>
          <a:endParaRPr lang="ru-RU"/>
        </a:p>
      </dgm:t>
    </dgm:pt>
    <dgm:pt modelId="{DA89A59E-8C29-4169-A782-100B5BD9C9D4}" type="sibTrans" cxnId="{4FD0DD4F-B572-4C08-8745-5A4A37735933}">
      <dgm:prSet/>
      <dgm:spPr/>
      <dgm:t>
        <a:bodyPr/>
        <a:lstStyle/>
        <a:p>
          <a:endParaRPr lang="ru-RU"/>
        </a:p>
      </dgm:t>
    </dgm:pt>
    <dgm:pt modelId="{8489A6FE-5581-4523-8C51-1AF1E15C929F}" type="pres">
      <dgm:prSet presAssocID="{741E2BC3-FE46-4124-A0D7-6444E457CE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6229399-4549-4BCD-8EF9-BE8CCB2608E9}" type="pres">
      <dgm:prSet presAssocID="{741E2BC3-FE46-4124-A0D7-6444E457CED8}" presName="tSp" presStyleCnt="0"/>
      <dgm:spPr/>
      <dgm:t>
        <a:bodyPr/>
        <a:lstStyle/>
        <a:p>
          <a:endParaRPr lang="ru-RU"/>
        </a:p>
      </dgm:t>
    </dgm:pt>
    <dgm:pt modelId="{626C383E-BBF4-4A47-9603-AB8D21D644C8}" type="pres">
      <dgm:prSet presAssocID="{741E2BC3-FE46-4124-A0D7-6444E457CED8}" presName="bSp" presStyleCnt="0"/>
      <dgm:spPr/>
      <dgm:t>
        <a:bodyPr/>
        <a:lstStyle/>
        <a:p>
          <a:endParaRPr lang="ru-RU"/>
        </a:p>
      </dgm:t>
    </dgm:pt>
    <dgm:pt modelId="{74B4EBB3-51C8-42BB-A213-15169CFBA335}" type="pres">
      <dgm:prSet presAssocID="{741E2BC3-FE46-4124-A0D7-6444E457CED8}" presName="process" presStyleCnt="0"/>
      <dgm:spPr/>
      <dgm:t>
        <a:bodyPr/>
        <a:lstStyle/>
        <a:p>
          <a:endParaRPr lang="ru-RU"/>
        </a:p>
      </dgm:t>
    </dgm:pt>
    <dgm:pt modelId="{C213F618-E8E4-403A-9C71-70704A195CF9}" type="pres">
      <dgm:prSet presAssocID="{E519F94C-5615-46A1-ACC7-091ADEA2BE61}" presName="composite1" presStyleCnt="0"/>
      <dgm:spPr/>
      <dgm:t>
        <a:bodyPr/>
        <a:lstStyle/>
        <a:p>
          <a:endParaRPr lang="ru-RU"/>
        </a:p>
      </dgm:t>
    </dgm:pt>
    <dgm:pt modelId="{4FCE1D64-E28C-4F13-BF36-A7391EFA3D61}" type="pres">
      <dgm:prSet presAssocID="{E519F94C-5615-46A1-ACC7-091ADEA2BE61}" presName="dummyNode1" presStyleLbl="node1" presStyleIdx="0" presStyleCnt="4"/>
      <dgm:spPr/>
      <dgm:t>
        <a:bodyPr/>
        <a:lstStyle/>
        <a:p>
          <a:endParaRPr lang="ru-RU"/>
        </a:p>
      </dgm:t>
    </dgm:pt>
    <dgm:pt modelId="{6B26E3A2-6F18-40CA-9635-3D9331527723}" type="pres">
      <dgm:prSet presAssocID="{E519F94C-5615-46A1-ACC7-091ADEA2BE61}" presName="childNode1" presStyleLbl="bgAcc1" presStyleIdx="0" presStyleCnt="4" custScaleX="11468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A6421E7-D2F5-4860-9C31-A6C72EE19953}" type="pres">
      <dgm:prSet presAssocID="{E519F94C-5615-46A1-ACC7-091ADEA2BE61}" presName="childNode1tx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694BA8C-447C-4A48-92E6-ADC7F4961739}" type="pres">
      <dgm:prSet presAssocID="{E519F94C-5615-46A1-ACC7-091ADEA2BE61}" presName="parentNode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1969CB-581C-457A-A4A2-B555E684B893}" type="pres">
      <dgm:prSet presAssocID="{E519F94C-5615-46A1-ACC7-091ADEA2BE61}" presName="connSite1" presStyleCnt="0"/>
      <dgm:spPr/>
      <dgm:t>
        <a:bodyPr/>
        <a:lstStyle/>
        <a:p>
          <a:endParaRPr lang="ru-RU"/>
        </a:p>
      </dgm:t>
    </dgm:pt>
    <dgm:pt modelId="{554B8C96-67A4-4256-8400-CACD76EFEAE8}" type="pres">
      <dgm:prSet presAssocID="{EF111826-E893-4FDF-BE25-5FB715D892AE}" presName="Name9" presStyleLbl="sibTrans2D1" presStyleIdx="0" presStyleCnt="3"/>
      <dgm:spPr/>
      <dgm:t>
        <a:bodyPr/>
        <a:lstStyle/>
        <a:p>
          <a:endParaRPr lang="ru-RU"/>
        </a:p>
      </dgm:t>
    </dgm:pt>
    <dgm:pt modelId="{5972665D-FC1F-422F-805F-0D201681171E}" type="pres">
      <dgm:prSet presAssocID="{573781FE-9DB6-4BF3-8FC7-57C9B8CFE3E8}" presName="composite2" presStyleCnt="0"/>
      <dgm:spPr/>
      <dgm:t>
        <a:bodyPr/>
        <a:lstStyle/>
        <a:p>
          <a:endParaRPr lang="ru-RU"/>
        </a:p>
      </dgm:t>
    </dgm:pt>
    <dgm:pt modelId="{012AF64F-4E43-4361-AEC3-E3B79A0F32D0}" type="pres">
      <dgm:prSet presAssocID="{573781FE-9DB6-4BF3-8FC7-57C9B8CFE3E8}" presName="dummyNode2" presStyleLbl="node1" presStyleIdx="0" presStyleCnt="4"/>
      <dgm:spPr/>
      <dgm:t>
        <a:bodyPr/>
        <a:lstStyle/>
        <a:p>
          <a:endParaRPr lang="ru-RU"/>
        </a:p>
      </dgm:t>
    </dgm:pt>
    <dgm:pt modelId="{7FADF63E-AE11-4593-9FEB-92BAFD2AC0A2}" type="pres">
      <dgm:prSet presAssocID="{573781FE-9DB6-4BF3-8FC7-57C9B8CFE3E8}" presName="childNode2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C085F9-377D-4D50-80A7-E29CB62F81E3}" type="pres">
      <dgm:prSet presAssocID="{573781FE-9DB6-4BF3-8FC7-57C9B8CFE3E8}" presName="childNode2tx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13410B5-811C-4CD2-B474-D846A293B1F5}" type="pres">
      <dgm:prSet presAssocID="{573781FE-9DB6-4BF3-8FC7-57C9B8CFE3E8}" presName="parentNode2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9F70F89-0FB4-47C8-9E67-A36F40D43C54}" type="pres">
      <dgm:prSet presAssocID="{573781FE-9DB6-4BF3-8FC7-57C9B8CFE3E8}" presName="connSite2" presStyleCnt="0"/>
      <dgm:spPr/>
      <dgm:t>
        <a:bodyPr/>
        <a:lstStyle/>
        <a:p>
          <a:endParaRPr lang="ru-RU"/>
        </a:p>
      </dgm:t>
    </dgm:pt>
    <dgm:pt modelId="{15C26CB9-B60E-4F74-9453-F91BCCF2E71A}" type="pres">
      <dgm:prSet presAssocID="{D3639124-1F7C-4218-9458-2D7A70AC2703}" presName="Name18" presStyleLbl="sibTrans2D1" presStyleIdx="1" presStyleCnt="3"/>
      <dgm:spPr/>
      <dgm:t>
        <a:bodyPr/>
        <a:lstStyle/>
        <a:p>
          <a:endParaRPr lang="ru-RU"/>
        </a:p>
      </dgm:t>
    </dgm:pt>
    <dgm:pt modelId="{F5AD8471-88A8-4639-8FEB-AB3741C916A0}" type="pres">
      <dgm:prSet presAssocID="{E6ED6ADA-94A1-4769-93C4-7C120431DEDF}" presName="composite1" presStyleCnt="0"/>
      <dgm:spPr/>
      <dgm:t>
        <a:bodyPr/>
        <a:lstStyle/>
        <a:p>
          <a:endParaRPr lang="ru-RU"/>
        </a:p>
      </dgm:t>
    </dgm:pt>
    <dgm:pt modelId="{1728822B-AFF3-497D-AA3A-AB583E9E1AC8}" type="pres">
      <dgm:prSet presAssocID="{E6ED6ADA-94A1-4769-93C4-7C120431DEDF}" presName="dummyNode1" presStyleLbl="node1" presStyleIdx="1" presStyleCnt="4"/>
      <dgm:spPr/>
      <dgm:t>
        <a:bodyPr/>
        <a:lstStyle/>
        <a:p>
          <a:endParaRPr lang="ru-RU"/>
        </a:p>
      </dgm:t>
    </dgm:pt>
    <dgm:pt modelId="{5C6C505F-59E8-47E9-8090-5432B3E69FB1}" type="pres">
      <dgm:prSet presAssocID="{E6ED6ADA-94A1-4769-93C4-7C120431DEDF}" presName="childNode1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4571456-7D1C-4871-A8A8-E383E7EBD2B0}" type="pres">
      <dgm:prSet presAssocID="{E6ED6ADA-94A1-4769-93C4-7C120431DEDF}" presName="childNode1tx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5B09553-24C6-4C6D-9EAC-4B1541120A0E}" type="pres">
      <dgm:prSet presAssocID="{E6ED6ADA-94A1-4769-93C4-7C120431DEDF}" presName="parentNode1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F67BCB-D592-4ED8-B7FD-AA1EC2D97BF9}" type="pres">
      <dgm:prSet presAssocID="{E6ED6ADA-94A1-4769-93C4-7C120431DEDF}" presName="connSite1" presStyleCnt="0"/>
      <dgm:spPr/>
      <dgm:t>
        <a:bodyPr/>
        <a:lstStyle/>
        <a:p>
          <a:endParaRPr lang="ru-RU"/>
        </a:p>
      </dgm:t>
    </dgm:pt>
    <dgm:pt modelId="{A4039A97-CD72-48A9-8BAC-166F88543D11}" type="pres">
      <dgm:prSet presAssocID="{63106B99-5AB6-44DD-9251-836D0268B264}" presName="Name9" presStyleLbl="sibTrans2D1" presStyleIdx="2" presStyleCnt="3"/>
      <dgm:spPr/>
      <dgm:t>
        <a:bodyPr/>
        <a:lstStyle/>
        <a:p>
          <a:endParaRPr lang="ru-RU"/>
        </a:p>
      </dgm:t>
    </dgm:pt>
    <dgm:pt modelId="{74FEE60C-6B7D-4E31-9A28-BCDB9B7E9C07}" type="pres">
      <dgm:prSet presAssocID="{419EE73E-4F5B-47E3-9230-3EB00631235F}" presName="composite2" presStyleCnt="0"/>
      <dgm:spPr/>
      <dgm:t>
        <a:bodyPr/>
        <a:lstStyle/>
        <a:p>
          <a:endParaRPr lang="ru-RU"/>
        </a:p>
      </dgm:t>
    </dgm:pt>
    <dgm:pt modelId="{CF5E0EF9-CC32-4CF4-88EA-DBC118880E16}" type="pres">
      <dgm:prSet presAssocID="{419EE73E-4F5B-47E3-9230-3EB00631235F}" presName="dummyNode2" presStyleLbl="node1" presStyleIdx="2" presStyleCnt="4"/>
      <dgm:spPr/>
      <dgm:t>
        <a:bodyPr/>
        <a:lstStyle/>
        <a:p>
          <a:endParaRPr lang="ru-RU"/>
        </a:p>
      </dgm:t>
    </dgm:pt>
    <dgm:pt modelId="{F2F0C5F8-2B5F-41BE-AE79-BE54C4A0077F}" type="pres">
      <dgm:prSet presAssocID="{419EE73E-4F5B-47E3-9230-3EB00631235F}" presName="childNode2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8C1A8E5-37FF-4779-BB33-A246DCC2132F}" type="pres">
      <dgm:prSet presAssocID="{419EE73E-4F5B-47E3-9230-3EB00631235F}" presName="childNode2tx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83A826-B410-49C0-9021-FB1A0F112E4C}" type="pres">
      <dgm:prSet presAssocID="{419EE73E-4F5B-47E3-9230-3EB00631235F}" presName="parentNode2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F28ACE2-590C-46B7-AB29-EFBAF5974B0B}" type="pres">
      <dgm:prSet presAssocID="{419EE73E-4F5B-47E3-9230-3EB00631235F}" presName="connSite2" presStyleCnt="0"/>
      <dgm:spPr/>
      <dgm:t>
        <a:bodyPr/>
        <a:lstStyle/>
        <a:p>
          <a:endParaRPr lang="ru-RU"/>
        </a:p>
      </dgm:t>
    </dgm:pt>
  </dgm:ptLst>
  <dgm:cxnLst>
    <dgm:cxn modelId="{E1BB2E6A-336E-424C-80C9-1CB509D239AF}" type="presOf" srcId="{95EC6868-C4F0-446A-B339-557A26B04CED}" destId="{08C085F9-377D-4D50-80A7-E29CB62F81E3}" srcOrd="1" destOrd="0" presId="urn:microsoft.com/office/officeart/2005/8/layout/hProcess4"/>
    <dgm:cxn modelId="{6C493459-8BF5-488B-9D8E-34C56017C46D}" srcId="{E6ED6ADA-94A1-4769-93C4-7C120431DEDF}" destId="{A6EC4303-1504-45BF-939E-0E8AC233A919}" srcOrd="1" destOrd="0" parTransId="{C8DA57BC-97C2-4C7C-9099-254FCE88878E}" sibTransId="{65F28B16-575B-4DF8-B978-3BC9348CCB14}"/>
    <dgm:cxn modelId="{EF9ACD77-C1D0-44EB-997D-F65184343378}" srcId="{E6ED6ADA-94A1-4769-93C4-7C120431DEDF}" destId="{95D468D6-DB98-4676-A098-5DDFEC169C99}" srcOrd="0" destOrd="0" parTransId="{7621A5AA-FE26-48E0-B589-49CC1B9D814A}" sibTransId="{A7E2D8FF-C993-4552-B7DF-61AE7761F506}"/>
    <dgm:cxn modelId="{55526A52-06D1-41CC-B560-4D8FC70ACEE3}" srcId="{573781FE-9DB6-4BF3-8FC7-57C9B8CFE3E8}" destId="{F9F1F9CD-F725-4133-AC07-EBBFA2B50D1B}" srcOrd="1" destOrd="0" parTransId="{3981D44E-04B1-4D9A-A0E8-C5F716C686E5}" sibTransId="{BC21F94D-2DA5-4CB6-B1E3-13E25A4564BE}"/>
    <dgm:cxn modelId="{B483E8D6-974C-4F50-9097-60A82677E343}" type="presOf" srcId="{A6EC4303-1504-45BF-939E-0E8AC233A919}" destId="{5C6C505F-59E8-47E9-8090-5432B3E69FB1}" srcOrd="0" destOrd="1" presId="urn:microsoft.com/office/officeart/2005/8/layout/hProcess4"/>
    <dgm:cxn modelId="{597A9587-BA9B-40A9-AE3F-CDBC599C22DF}" type="presOf" srcId="{EF111826-E893-4FDF-BE25-5FB715D892AE}" destId="{554B8C96-67A4-4256-8400-CACD76EFEAE8}" srcOrd="0" destOrd="0" presId="urn:microsoft.com/office/officeart/2005/8/layout/hProcess4"/>
    <dgm:cxn modelId="{C40661B5-4E4F-4B3D-A9DF-4D2644495FB8}" type="presOf" srcId="{4CA6763B-48C4-4FE0-AC77-C2A378CC860E}" destId="{6B26E3A2-6F18-40CA-9635-3D9331527723}" srcOrd="0" destOrd="0" presId="urn:microsoft.com/office/officeart/2005/8/layout/hProcess4"/>
    <dgm:cxn modelId="{FA1D8B83-2459-46D0-A0AA-AC168149355A}" srcId="{741E2BC3-FE46-4124-A0D7-6444E457CED8}" destId="{E6ED6ADA-94A1-4769-93C4-7C120431DEDF}" srcOrd="2" destOrd="0" parTransId="{943918C9-A49C-4687-B3B4-C9BBC3C318A1}" sibTransId="{63106B99-5AB6-44DD-9251-836D0268B264}"/>
    <dgm:cxn modelId="{F77A6C82-2B69-4306-8B9A-6FA1D7386655}" type="presOf" srcId="{FC9431C5-6E38-41D3-8E41-6D93D8C6959A}" destId="{A8C1A8E5-37FF-4779-BB33-A246DCC2132F}" srcOrd="1" destOrd="0" presId="urn:microsoft.com/office/officeart/2005/8/layout/hProcess4"/>
    <dgm:cxn modelId="{E7271B2D-CB9A-4993-828A-46BF21C204D9}" srcId="{573781FE-9DB6-4BF3-8FC7-57C9B8CFE3E8}" destId="{95EC6868-C4F0-446A-B339-557A26B04CED}" srcOrd="0" destOrd="0" parTransId="{E545AFF9-8ACF-4F91-A82F-38ADAD55BB51}" sibTransId="{CCBC856B-BC75-457C-B922-4EA170DF3BED}"/>
    <dgm:cxn modelId="{108B9C2A-EA23-46C4-B096-3C4C0E0733EE}" type="presOf" srcId="{95D468D6-DB98-4676-A098-5DDFEC169C99}" destId="{94571456-7D1C-4871-A8A8-E383E7EBD2B0}" srcOrd="1" destOrd="0" presId="urn:microsoft.com/office/officeart/2005/8/layout/hProcess4"/>
    <dgm:cxn modelId="{0FED3741-6672-4BA0-ADA5-F9E174421DB4}" srcId="{419EE73E-4F5B-47E3-9230-3EB00631235F}" destId="{FC9431C5-6E38-41D3-8E41-6D93D8C6959A}" srcOrd="0" destOrd="0" parTransId="{C9F423E6-AFDE-42AB-B03A-2653576185BC}" sibTransId="{2C0A1FEA-8146-42DF-AD5F-0AC6BE634126}"/>
    <dgm:cxn modelId="{95373589-A3F0-4789-AE44-70F5A449E107}" type="presOf" srcId="{95D468D6-DB98-4676-A098-5DDFEC169C99}" destId="{5C6C505F-59E8-47E9-8090-5432B3E69FB1}" srcOrd="0" destOrd="0" presId="urn:microsoft.com/office/officeart/2005/8/layout/hProcess4"/>
    <dgm:cxn modelId="{1ECE05FD-88E1-4F00-893D-28F0747A2D85}" srcId="{741E2BC3-FE46-4124-A0D7-6444E457CED8}" destId="{E519F94C-5615-46A1-ACC7-091ADEA2BE61}" srcOrd="0" destOrd="0" parTransId="{A84BC6F8-C879-4626-A6D8-3D5B747E0765}" sibTransId="{EF111826-E893-4FDF-BE25-5FB715D892AE}"/>
    <dgm:cxn modelId="{3EE69491-D9A1-4E87-9D4F-48CD02256B58}" type="presOf" srcId="{431864FB-BE68-437E-94C3-5DC8376DD1AA}" destId="{0A6421E7-D2F5-4860-9C31-A6C72EE19953}" srcOrd="1" destOrd="1" presId="urn:microsoft.com/office/officeart/2005/8/layout/hProcess4"/>
    <dgm:cxn modelId="{402C21DD-98EE-4CEF-9C73-7F5F7D7E8D3C}" type="presOf" srcId="{A6EC4303-1504-45BF-939E-0E8AC233A919}" destId="{94571456-7D1C-4871-A8A8-E383E7EBD2B0}" srcOrd="1" destOrd="1" presId="urn:microsoft.com/office/officeart/2005/8/layout/hProcess4"/>
    <dgm:cxn modelId="{FFA4BECC-96C5-407D-BD70-5A41A7044E4C}" type="presOf" srcId="{E519F94C-5615-46A1-ACC7-091ADEA2BE61}" destId="{B694BA8C-447C-4A48-92E6-ADC7F4961739}" srcOrd="0" destOrd="0" presId="urn:microsoft.com/office/officeart/2005/8/layout/hProcess4"/>
    <dgm:cxn modelId="{180B2846-4AD0-4395-9151-A0D6CD09B504}" type="presOf" srcId="{E6ED6ADA-94A1-4769-93C4-7C120431DEDF}" destId="{25B09553-24C6-4C6D-9EAC-4B1541120A0E}" srcOrd="0" destOrd="0" presId="urn:microsoft.com/office/officeart/2005/8/layout/hProcess4"/>
    <dgm:cxn modelId="{C65473A9-9007-42E8-ABCB-68DC2774D445}" type="presOf" srcId="{741E2BC3-FE46-4124-A0D7-6444E457CED8}" destId="{8489A6FE-5581-4523-8C51-1AF1E15C929F}" srcOrd="0" destOrd="0" presId="urn:microsoft.com/office/officeart/2005/8/layout/hProcess4"/>
    <dgm:cxn modelId="{406F3811-6778-4CA4-9BD5-AF05D636D6C9}" type="presOf" srcId="{431864FB-BE68-437E-94C3-5DC8376DD1AA}" destId="{6B26E3A2-6F18-40CA-9635-3D9331527723}" srcOrd="0" destOrd="1" presId="urn:microsoft.com/office/officeart/2005/8/layout/hProcess4"/>
    <dgm:cxn modelId="{B56E5842-20A0-4789-B98C-98FE227FD7CB}" type="presOf" srcId="{419EE73E-4F5B-47E3-9230-3EB00631235F}" destId="{7483A826-B410-49C0-9021-FB1A0F112E4C}" srcOrd="0" destOrd="0" presId="urn:microsoft.com/office/officeart/2005/8/layout/hProcess4"/>
    <dgm:cxn modelId="{D7F61C91-4372-4677-8A7F-992ECA306F91}" type="presOf" srcId="{95EC6868-C4F0-446A-B339-557A26B04CED}" destId="{7FADF63E-AE11-4593-9FEB-92BAFD2AC0A2}" srcOrd="0" destOrd="0" presId="urn:microsoft.com/office/officeart/2005/8/layout/hProcess4"/>
    <dgm:cxn modelId="{4FD0DD4F-B572-4C08-8745-5A4A37735933}" srcId="{419EE73E-4F5B-47E3-9230-3EB00631235F}" destId="{80A81FC5-FB22-40E3-A577-41BBA8502222}" srcOrd="1" destOrd="0" parTransId="{729E602B-24D1-4B38-8919-DCF421CA0FB7}" sibTransId="{DA89A59E-8C29-4169-A782-100B5BD9C9D4}"/>
    <dgm:cxn modelId="{3748ADDB-3972-4A6F-B62B-851768A01FFC}" srcId="{E519F94C-5615-46A1-ACC7-091ADEA2BE61}" destId="{4CA6763B-48C4-4FE0-AC77-C2A378CC860E}" srcOrd="0" destOrd="0" parTransId="{18C02DF2-C8AB-49C9-9847-6EFA83FFCAA3}" sibTransId="{13117A0A-11B9-496D-995C-D0179D21D029}"/>
    <dgm:cxn modelId="{6D67077F-959B-43BC-9F3F-988CD52BDBF9}" type="presOf" srcId="{FC9431C5-6E38-41D3-8E41-6D93D8C6959A}" destId="{F2F0C5F8-2B5F-41BE-AE79-BE54C4A0077F}" srcOrd="0" destOrd="0" presId="urn:microsoft.com/office/officeart/2005/8/layout/hProcess4"/>
    <dgm:cxn modelId="{D2199C58-23E6-4ADE-9DD9-0AC9229489E3}" type="presOf" srcId="{63106B99-5AB6-44DD-9251-836D0268B264}" destId="{A4039A97-CD72-48A9-8BAC-166F88543D11}" srcOrd="0" destOrd="0" presId="urn:microsoft.com/office/officeart/2005/8/layout/hProcess4"/>
    <dgm:cxn modelId="{9DA7CE40-27AC-40E9-AB7F-A9100B0638DC}" type="presOf" srcId="{80A81FC5-FB22-40E3-A577-41BBA8502222}" destId="{A8C1A8E5-37FF-4779-BB33-A246DCC2132F}" srcOrd="1" destOrd="1" presId="urn:microsoft.com/office/officeart/2005/8/layout/hProcess4"/>
    <dgm:cxn modelId="{422BE0A2-DBB4-419A-A452-C3786F5F9431}" type="presOf" srcId="{F9F1F9CD-F725-4133-AC07-EBBFA2B50D1B}" destId="{08C085F9-377D-4D50-80A7-E29CB62F81E3}" srcOrd="1" destOrd="1" presId="urn:microsoft.com/office/officeart/2005/8/layout/hProcess4"/>
    <dgm:cxn modelId="{FBE6D556-762C-4221-AA1D-BA37C2A2656C}" srcId="{741E2BC3-FE46-4124-A0D7-6444E457CED8}" destId="{573781FE-9DB6-4BF3-8FC7-57C9B8CFE3E8}" srcOrd="1" destOrd="0" parTransId="{9BDAAADE-837A-493C-ABA6-D34F081ADC65}" sibTransId="{D3639124-1F7C-4218-9458-2D7A70AC2703}"/>
    <dgm:cxn modelId="{340B337A-8BA1-468D-8349-BD25CEA72C2F}" srcId="{741E2BC3-FE46-4124-A0D7-6444E457CED8}" destId="{419EE73E-4F5B-47E3-9230-3EB00631235F}" srcOrd="3" destOrd="0" parTransId="{77528EF2-4A2E-4065-BDB2-AB0A88E0BB73}" sibTransId="{37238E96-DB0D-49F0-B355-E04A8BEC18AE}"/>
    <dgm:cxn modelId="{D95A6A7E-5599-43E6-8F39-0B496C8C87C8}" type="presOf" srcId="{573781FE-9DB6-4BF3-8FC7-57C9B8CFE3E8}" destId="{A13410B5-811C-4CD2-B474-D846A293B1F5}" srcOrd="0" destOrd="0" presId="urn:microsoft.com/office/officeart/2005/8/layout/hProcess4"/>
    <dgm:cxn modelId="{061B6CD0-69D2-4F24-8943-F423485CAED7}" type="presOf" srcId="{80A81FC5-FB22-40E3-A577-41BBA8502222}" destId="{F2F0C5F8-2B5F-41BE-AE79-BE54C4A0077F}" srcOrd="0" destOrd="1" presId="urn:microsoft.com/office/officeart/2005/8/layout/hProcess4"/>
    <dgm:cxn modelId="{46D595AC-0B3D-4D48-AD4C-B670AEA3AEA5}" type="presOf" srcId="{4CA6763B-48C4-4FE0-AC77-C2A378CC860E}" destId="{0A6421E7-D2F5-4860-9C31-A6C72EE19953}" srcOrd="1" destOrd="0" presId="urn:microsoft.com/office/officeart/2005/8/layout/hProcess4"/>
    <dgm:cxn modelId="{3C361716-6C31-4B0C-B4F5-5CF08D17C024}" type="presOf" srcId="{D3639124-1F7C-4218-9458-2D7A70AC2703}" destId="{15C26CB9-B60E-4F74-9453-F91BCCF2E71A}" srcOrd="0" destOrd="0" presId="urn:microsoft.com/office/officeart/2005/8/layout/hProcess4"/>
    <dgm:cxn modelId="{0F5EA797-9540-4AB5-BEB1-E0F4A79402CA}" type="presOf" srcId="{F9F1F9CD-F725-4133-AC07-EBBFA2B50D1B}" destId="{7FADF63E-AE11-4593-9FEB-92BAFD2AC0A2}" srcOrd="0" destOrd="1" presId="urn:microsoft.com/office/officeart/2005/8/layout/hProcess4"/>
    <dgm:cxn modelId="{431F6A37-310D-45AA-AF3F-C2F3AFD11193}" srcId="{E519F94C-5615-46A1-ACC7-091ADEA2BE61}" destId="{431864FB-BE68-437E-94C3-5DC8376DD1AA}" srcOrd="1" destOrd="0" parTransId="{64D92D46-A97C-4AC9-9C46-49C7EDF16278}" sibTransId="{3B5090F9-5613-420E-980B-2E2BEF76EE16}"/>
    <dgm:cxn modelId="{8700B33E-FD85-47F1-B3CC-3C08BE5F401A}" type="presParOf" srcId="{8489A6FE-5581-4523-8C51-1AF1E15C929F}" destId="{06229399-4549-4BCD-8EF9-BE8CCB2608E9}" srcOrd="0" destOrd="0" presId="urn:microsoft.com/office/officeart/2005/8/layout/hProcess4"/>
    <dgm:cxn modelId="{447E0511-7038-4FE6-918F-6C749E74945D}" type="presParOf" srcId="{8489A6FE-5581-4523-8C51-1AF1E15C929F}" destId="{626C383E-BBF4-4A47-9603-AB8D21D644C8}" srcOrd="1" destOrd="0" presId="urn:microsoft.com/office/officeart/2005/8/layout/hProcess4"/>
    <dgm:cxn modelId="{22338AD6-9919-4694-BBD8-FAACBED8356E}" type="presParOf" srcId="{8489A6FE-5581-4523-8C51-1AF1E15C929F}" destId="{74B4EBB3-51C8-42BB-A213-15169CFBA335}" srcOrd="2" destOrd="0" presId="urn:microsoft.com/office/officeart/2005/8/layout/hProcess4"/>
    <dgm:cxn modelId="{1E6CB10D-A555-4D2E-A580-CDEDCBB51DA2}" type="presParOf" srcId="{74B4EBB3-51C8-42BB-A213-15169CFBA335}" destId="{C213F618-E8E4-403A-9C71-70704A195CF9}" srcOrd="0" destOrd="0" presId="urn:microsoft.com/office/officeart/2005/8/layout/hProcess4"/>
    <dgm:cxn modelId="{3128D4BF-D7DF-4090-BF90-C4FF4446D12A}" type="presParOf" srcId="{C213F618-E8E4-403A-9C71-70704A195CF9}" destId="{4FCE1D64-E28C-4F13-BF36-A7391EFA3D61}" srcOrd="0" destOrd="0" presId="urn:microsoft.com/office/officeart/2005/8/layout/hProcess4"/>
    <dgm:cxn modelId="{2DA80671-94A5-451B-A793-8DD8547E2DBC}" type="presParOf" srcId="{C213F618-E8E4-403A-9C71-70704A195CF9}" destId="{6B26E3A2-6F18-40CA-9635-3D9331527723}" srcOrd="1" destOrd="0" presId="urn:microsoft.com/office/officeart/2005/8/layout/hProcess4"/>
    <dgm:cxn modelId="{8472DA27-6693-4BC9-9C5D-45A7ADB47AE8}" type="presParOf" srcId="{C213F618-E8E4-403A-9C71-70704A195CF9}" destId="{0A6421E7-D2F5-4860-9C31-A6C72EE19953}" srcOrd="2" destOrd="0" presId="urn:microsoft.com/office/officeart/2005/8/layout/hProcess4"/>
    <dgm:cxn modelId="{88164391-CF08-4B19-938E-EBA62735CF58}" type="presParOf" srcId="{C213F618-E8E4-403A-9C71-70704A195CF9}" destId="{B694BA8C-447C-4A48-92E6-ADC7F4961739}" srcOrd="3" destOrd="0" presId="urn:microsoft.com/office/officeart/2005/8/layout/hProcess4"/>
    <dgm:cxn modelId="{BE01C9AA-2B4D-49A8-B91A-273CBEA69690}" type="presParOf" srcId="{C213F618-E8E4-403A-9C71-70704A195CF9}" destId="{801969CB-581C-457A-A4A2-B555E684B893}" srcOrd="4" destOrd="0" presId="urn:microsoft.com/office/officeart/2005/8/layout/hProcess4"/>
    <dgm:cxn modelId="{FE32B63C-5F54-4778-A169-90F8319F4C1F}" type="presParOf" srcId="{74B4EBB3-51C8-42BB-A213-15169CFBA335}" destId="{554B8C96-67A4-4256-8400-CACD76EFEAE8}" srcOrd="1" destOrd="0" presId="urn:microsoft.com/office/officeart/2005/8/layout/hProcess4"/>
    <dgm:cxn modelId="{71D24BEE-B64F-4C6B-86DA-71CC9F062B83}" type="presParOf" srcId="{74B4EBB3-51C8-42BB-A213-15169CFBA335}" destId="{5972665D-FC1F-422F-805F-0D201681171E}" srcOrd="2" destOrd="0" presId="urn:microsoft.com/office/officeart/2005/8/layout/hProcess4"/>
    <dgm:cxn modelId="{989AB60C-C7CE-4B07-AC65-A5638810F67F}" type="presParOf" srcId="{5972665D-FC1F-422F-805F-0D201681171E}" destId="{012AF64F-4E43-4361-AEC3-E3B79A0F32D0}" srcOrd="0" destOrd="0" presId="urn:microsoft.com/office/officeart/2005/8/layout/hProcess4"/>
    <dgm:cxn modelId="{4D6D49F9-A6DC-48F2-9810-5DEAB68C828A}" type="presParOf" srcId="{5972665D-FC1F-422F-805F-0D201681171E}" destId="{7FADF63E-AE11-4593-9FEB-92BAFD2AC0A2}" srcOrd="1" destOrd="0" presId="urn:microsoft.com/office/officeart/2005/8/layout/hProcess4"/>
    <dgm:cxn modelId="{7D157AEC-BD3F-4F18-B9B9-5D3032CD40CD}" type="presParOf" srcId="{5972665D-FC1F-422F-805F-0D201681171E}" destId="{08C085F9-377D-4D50-80A7-E29CB62F81E3}" srcOrd="2" destOrd="0" presId="urn:microsoft.com/office/officeart/2005/8/layout/hProcess4"/>
    <dgm:cxn modelId="{0C15ED52-5A35-4844-9B77-5A5A685D0E66}" type="presParOf" srcId="{5972665D-FC1F-422F-805F-0D201681171E}" destId="{A13410B5-811C-4CD2-B474-D846A293B1F5}" srcOrd="3" destOrd="0" presId="urn:microsoft.com/office/officeart/2005/8/layout/hProcess4"/>
    <dgm:cxn modelId="{C7A0ED28-70D7-4010-95D3-E2A2D64341AD}" type="presParOf" srcId="{5972665D-FC1F-422F-805F-0D201681171E}" destId="{99F70F89-0FB4-47C8-9E67-A36F40D43C54}" srcOrd="4" destOrd="0" presId="urn:microsoft.com/office/officeart/2005/8/layout/hProcess4"/>
    <dgm:cxn modelId="{9559C4E1-7AB4-42F3-8683-4EEB402D6186}" type="presParOf" srcId="{74B4EBB3-51C8-42BB-A213-15169CFBA335}" destId="{15C26CB9-B60E-4F74-9453-F91BCCF2E71A}" srcOrd="3" destOrd="0" presId="urn:microsoft.com/office/officeart/2005/8/layout/hProcess4"/>
    <dgm:cxn modelId="{791AA3C7-41A2-4A07-82C0-B35B885E3252}" type="presParOf" srcId="{74B4EBB3-51C8-42BB-A213-15169CFBA335}" destId="{F5AD8471-88A8-4639-8FEB-AB3741C916A0}" srcOrd="4" destOrd="0" presId="urn:microsoft.com/office/officeart/2005/8/layout/hProcess4"/>
    <dgm:cxn modelId="{A0C814D4-B64E-489D-9FA6-99052CB514D2}" type="presParOf" srcId="{F5AD8471-88A8-4639-8FEB-AB3741C916A0}" destId="{1728822B-AFF3-497D-AA3A-AB583E9E1AC8}" srcOrd="0" destOrd="0" presId="urn:microsoft.com/office/officeart/2005/8/layout/hProcess4"/>
    <dgm:cxn modelId="{DF2B0F1D-B666-4A6C-BCC4-DE6C92E40E72}" type="presParOf" srcId="{F5AD8471-88A8-4639-8FEB-AB3741C916A0}" destId="{5C6C505F-59E8-47E9-8090-5432B3E69FB1}" srcOrd="1" destOrd="0" presId="urn:microsoft.com/office/officeart/2005/8/layout/hProcess4"/>
    <dgm:cxn modelId="{A86CB5F1-1AAB-48F4-A83F-1F8A5A4253A2}" type="presParOf" srcId="{F5AD8471-88A8-4639-8FEB-AB3741C916A0}" destId="{94571456-7D1C-4871-A8A8-E383E7EBD2B0}" srcOrd="2" destOrd="0" presId="urn:microsoft.com/office/officeart/2005/8/layout/hProcess4"/>
    <dgm:cxn modelId="{69B5CE04-B5B2-4EA2-9D96-EF94BFE7FB5A}" type="presParOf" srcId="{F5AD8471-88A8-4639-8FEB-AB3741C916A0}" destId="{25B09553-24C6-4C6D-9EAC-4B1541120A0E}" srcOrd="3" destOrd="0" presId="urn:microsoft.com/office/officeart/2005/8/layout/hProcess4"/>
    <dgm:cxn modelId="{220AC166-711A-426A-8AE7-6BA3034F3152}" type="presParOf" srcId="{F5AD8471-88A8-4639-8FEB-AB3741C916A0}" destId="{55F67BCB-D592-4ED8-B7FD-AA1EC2D97BF9}" srcOrd="4" destOrd="0" presId="urn:microsoft.com/office/officeart/2005/8/layout/hProcess4"/>
    <dgm:cxn modelId="{A87E51BD-FEB2-4895-B467-8597BAAB4353}" type="presParOf" srcId="{74B4EBB3-51C8-42BB-A213-15169CFBA335}" destId="{A4039A97-CD72-48A9-8BAC-166F88543D11}" srcOrd="5" destOrd="0" presId="urn:microsoft.com/office/officeart/2005/8/layout/hProcess4"/>
    <dgm:cxn modelId="{789DF11D-7E4B-4606-9D78-81C6FEA80FDB}" type="presParOf" srcId="{74B4EBB3-51C8-42BB-A213-15169CFBA335}" destId="{74FEE60C-6B7D-4E31-9A28-BCDB9B7E9C07}" srcOrd="6" destOrd="0" presId="urn:microsoft.com/office/officeart/2005/8/layout/hProcess4"/>
    <dgm:cxn modelId="{7241CCC4-44EC-4505-884E-457A11EC3369}" type="presParOf" srcId="{74FEE60C-6B7D-4E31-9A28-BCDB9B7E9C07}" destId="{CF5E0EF9-CC32-4CF4-88EA-DBC118880E16}" srcOrd="0" destOrd="0" presId="urn:microsoft.com/office/officeart/2005/8/layout/hProcess4"/>
    <dgm:cxn modelId="{A665FD40-231F-49B9-98C5-22C63C3CA298}" type="presParOf" srcId="{74FEE60C-6B7D-4E31-9A28-BCDB9B7E9C07}" destId="{F2F0C5F8-2B5F-41BE-AE79-BE54C4A0077F}" srcOrd="1" destOrd="0" presId="urn:microsoft.com/office/officeart/2005/8/layout/hProcess4"/>
    <dgm:cxn modelId="{337206BE-A4E6-436D-B99B-5F990F44B2EC}" type="presParOf" srcId="{74FEE60C-6B7D-4E31-9A28-BCDB9B7E9C07}" destId="{A8C1A8E5-37FF-4779-BB33-A246DCC2132F}" srcOrd="2" destOrd="0" presId="urn:microsoft.com/office/officeart/2005/8/layout/hProcess4"/>
    <dgm:cxn modelId="{66C35426-7252-4101-962C-8F061462CB76}" type="presParOf" srcId="{74FEE60C-6B7D-4E31-9A28-BCDB9B7E9C07}" destId="{7483A826-B410-49C0-9021-FB1A0F112E4C}" srcOrd="3" destOrd="0" presId="urn:microsoft.com/office/officeart/2005/8/layout/hProcess4"/>
    <dgm:cxn modelId="{27888EEA-3DA4-4072-9A29-4B93C92056B0}" type="presParOf" srcId="{74FEE60C-6B7D-4E31-9A28-BCDB9B7E9C07}" destId="{AF28ACE2-590C-46B7-AB29-EFBAF5974B0B}" srcOrd="4" destOrd="0" presId="urn:microsoft.com/office/officeart/2005/8/layout/hProcess4"/>
  </dgm:cxnLst>
  <dgm:bg>
    <a:solidFill>
      <a:schemeClr val="bg1">
        <a:lumMod val="95000"/>
      </a:schemeClr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BA0A1A5-E4F9-40E3-8971-52F74E22E2CE}" type="doc">
      <dgm:prSet loTypeId="urn:microsoft.com/office/officeart/2005/8/layout/chevron2" loCatId="list" qsTypeId="urn:microsoft.com/office/officeart/2005/8/quickstyle/3d4" qsCatId="3D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79A70D55-BF66-4D0F-B183-38FFA619621A}">
      <dgm:prSet phldrT="[Текст]" custT="1"/>
      <dgm:spPr/>
      <dgm:t>
        <a:bodyPr/>
        <a:lstStyle/>
        <a:p>
          <a:endParaRPr lang="ru-RU" sz="1800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r>
            <a:rPr lang="ru-RU" sz="18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Вход</a:t>
          </a:r>
          <a:endParaRPr lang="ru-RU" sz="18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9C22302D-2FDA-4F57-9A5C-ED704EDF4260}" type="parTrans" cxnId="{C32AA98C-087D-46B9-8158-579D5367E037}">
      <dgm:prSet/>
      <dgm:spPr/>
      <dgm:t>
        <a:bodyPr/>
        <a:lstStyle/>
        <a:p>
          <a:endParaRPr lang="ru-RU"/>
        </a:p>
      </dgm:t>
    </dgm:pt>
    <dgm:pt modelId="{F3D24A7E-7E9B-4AF8-8EED-768BCC8A6BE0}" type="sibTrans" cxnId="{C32AA98C-087D-46B9-8158-579D5367E037}">
      <dgm:prSet/>
      <dgm:spPr/>
      <dgm:t>
        <a:bodyPr/>
        <a:lstStyle/>
        <a:p>
          <a:endParaRPr lang="ru-RU"/>
        </a:p>
      </dgm:t>
    </dgm:pt>
    <dgm:pt modelId="{52ABDAA7-3FD5-4797-BE82-4FC6EE5B75B0}">
      <dgm:prSet phldrT="[Текст]" custT="1"/>
      <dgm:spPr/>
      <dgm:t>
        <a:bodyPr/>
        <a:lstStyle/>
        <a:p>
          <a:r>
            <a:rPr lang="ru-RU" sz="1600" dirty="0" smtClean="0"/>
            <a:t>Зайдите на сайт  </a:t>
          </a:r>
          <a:r>
            <a:rPr lang="en-US" sz="1600" dirty="0" smtClean="0">
              <a:hlinkClick xmlns:r="http://schemas.openxmlformats.org/officeDocument/2006/relationships" r:id="rId1"/>
            </a:rPr>
            <a:t>www</a:t>
          </a:r>
          <a:r>
            <a:rPr lang="ru-RU" sz="1600" dirty="0" smtClean="0">
              <a:hlinkClick xmlns:r="http://schemas.openxmlformats.org/officeDocument/2006/relationships" r:id="rId1"/>
            </a:rPr>
            <a:t>.</a:t>
          </a:r>
          <a:r>
            <a:rPr lang="en-US" sz="1600" dirty="0" err="1" smtClean="0">
              <a:hlinkClick xmlns:r="http://schemas.openxmlformats.org/officeDocument/2006/relationships" r:id="rId1"/>
            </a:rPr>
            <a:t>rzd</a:t>
          </a:r>
          <a:r>
            <a:rPr lang="ru-RU" sz="1600" dirty="0" smtClean="0">
              <a:hlinkClick xmlns:r="http://schemas.openxmlformats.org/officeDocument/2006/relationships" r:id="rId1"/>
            </a:rPr>
            <a:t>.</a:t>
          </a:r>
          <a:r>
            <a:rPr lang="en-US" sz="1600" dirty="0" smtClean="0">
              <a:hlinkClick xmlns:r="http://schemas.openxmlformats.org/officeDocument/2006/relationships" r:id="rId1"/>
            </a:rPr>
            <a:t>pass</a:t>
          </a:r>
          <a:r>
            <a:rPr lang="ru-RU" sz="1600" dirty="0" smtClean="0">
              <a:hlinkClick xmlns:r="http://schemas.openxmlformats.org/officeDocument/2006/relationships" r:id="rId1"/>
            </a:rPr>
            <a:t>.</a:t>
          </a:r>
          <a:r>
            <a:rPr lang="en-US" sz="1600" dirty="0" smtClean="0">
              <a:hlinkClick xmlns:r="http://schemas.openxmlformats.org/officeDocument/2006/relationships" r:id="rId1"/>
            </a:rPr>
            <a:t>ru</a:t>
          </a:r>
          <a:endParaRPr lang="ru-RU" sz="1600" dirty="0"/>
        </a:p>
      </dgm:t>
    </dgm:pt>
    <dgm:pt modelId="{2DD95BBF-817C-4F47-AD02-1C33C4085F85}" type="parTrans" cxnId="{5E70BD85-141A-4C6D-8D2B-2E3F1EB155F2}">
      <dgm:prSet/>
      <dgm:spPr/>
      <dgm:t>
        <a:bodyPr/>
        <a:lstStyle/>
        <a:p>
          <a:endParaRPr lang="ru-RU"/>
        </a:p>
      </dgm:t>
    </dgm:pt>
    <dgm:pt modelId="{34397170-B057-42B1-A419-B0686928ECC6}" type="sibTrans" cxnId="{5E70BD85-141A-4C6D-8D2B-2E3F1EB155F2}">
      <dgm:prSet/>
      <dgm:spPr/>
      <dgm:t>
        <a:bodyPr/>
        <a:lstStyle/>
        <a:p>
          <a:endParaRPr lang="ru-RU"/>
        </a:p>
      </dgm:t>
    </dgm:pt>
    <dgm:pt modelId="{3E45F5AE-DCF6-4DE3-B685-F9B4F76B00F7}">
      <dgm:prSet phldrT="[Текст]" custT="1"/>
      <dgm:spPr/>
      <dgm:t>
        <a:bodyPr/>
        <a:lstStyle/>
        <a:p>
          <a:r>
            <a:rPr lang="ru-RU" sz="16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Регистрация</a:t>
          </a:r>
          <a:endParaRPr lang="ru-RU" sz="16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C099FBF9-42BD-415F-9084-310EA9ED0B21}" type="parTrans" cxnId="{309E29D4-A528-463E-B6F7-FAF3491D607E}">
      <dgm:prSet/>
      <dgm:spPr/>
      <dgm:t>
        <a:bodyPr/>
        <a:lstStyle/>
        <a:p>
          <a:endParaRPr lang="ru-RU"/>
        </a:p>
      </dgm:t>
    </dgm:pt>
    <dgm:pt modelId="{ED1F90DB-10A2-41EE-9E7E-7797B3E57AB4}" type="sibTrans" cxnId="{309E29D4-A528-463E-B6F7-FAF3491D607E}">
      <dgm:prSet/>
      <dgm:spPr/>
      <dgm:t>
        <a:bodyPr/>
        <a:lstStyle/>
        <a:p>
          <a:endParaRPr lang="ru-RU"/>
        </a:p>
      </dgm:t>
    </dgm:pt>
    <dgm:pt modelId="{2839DF8A-65F0-4A0D-88D2-C57BD8E0E2D3}">
      <dgm:prSet phldrT="[Текст]" custT="1"/>
      <dgm:spPr/>
      <dgm:t>
        <a:bodyPr/>
        <a:lstStyle/>
        <a:p>
          <a:r>
            <a:rPr lang="ru-RU" sz="1200" dirty="0" smtClean="0"/>
            <a:t>Пройдите процедуру регистрации</a:t>
          </a:r>
          <a:endParaRPr lang="ru-RU" sz="1200" dirty="0"/>
        </a:p>
      </dgm:t>
    </dgm:pt>
    <dgm:pt modelId="{F3A8F1CE-7015-4D67-8D5A-876C3CA9616D}" type="parTrans" cxnId="{966FBD0E-571F-4A37-B83B-7AE158EB50C9}">
      <dgm:prSet/>
      <dgm:spPr/>
      <dgm:t>
        <a:bodyPr/>
        <a:lstStyle/>
        <a:p>
          <a:endParaRPr lang="ru-RU"/>
        </a:p>
      </dgm:t>
    </dgm:pt>
    <dgm:pt modelId="{AFD1EC4F-E5F2-44F6-A11E-AB5E29E232C9}" type="sibTrans" cxnId="{966FBD0E-571F-4A37-B83B-7AE158EB50C9}">
      <dgm:prSet/>
      <dgm:spPr/>
      <dgm:t>
        <a:bodyPr/>
        <a:lstStyle/>
        <a:p>
          <a:endParaRPr lang="ru-RU"/>
        </a:p>
      </dgm:t>
    </dgm:pt>
    <dgm:pt modelId="{673E570B-41FA-45FF-818E-13C55922719E}">
      <dgm:prSet phldrT="[Текст]" custT="1"/>
      <dgm:spPr/>
      <dgm:t>
        <a:bodyPr/>
        <a:lstStyle/>
        <a:p>
          <a:r>
            <a:rPr lang="ru-RU" sz="1200" dirty="0" smtClean="0"/>
            <a:t>Если вы уже зарегистрированы, авторизуйтесь  под своим логином и паролем</a:t>
          </a:r>
          <a:endParaRPr lang="ru-RU" sz="1200" dirty="0"/>
        </a:p>
      </dgm:t>
    </dgm:pt>
    <dgm:pt modelId="{450499F1-37D9-4AE1-B7C4-C2F0CF6E569E}" type="parTrans" cxnId="{9190CEA6-499F-4BCD-B67C-5942E59AA850}">
      <dgm:prSet/>
      <dgm:spPr/>
      <dgm:t>
        <a:bodyPr/>
        <a:lstStyle/>
        <a:p>
          <a:endParaRPr lang="ru-RU"/>
        </a:p>
      </dgm:t>
    </dgm:pt>
    <dgm:pt modelId="{CEF2FD5D-86C2-4E59-BD08-AAE53AC1F5BC}" type="sibTrans" cxnId="{9190CEA6-499F-4BCD-B67C-5942E59AA850}">
      <dgm:prSet/>
      <dgm:spPr/>
      <dgm:t>
        <a:bodyPr/>
        <a:lstStyle/>
        <a:p>
          <a:endParaRPr lang="ru-RU"/>
        </a:p>
      </dgm:t>
    </dgm:pt>
    <dgm:pt modelId="{898065EF-EB26-497A-A63B-C25073046D81}">
      <dgm:prSet phldrT="[Текст]"/>
      <dgm:spPr/>
      <dgm:t>
        <a:bodyPr/>
        <a:lstStyle/>
        <a:p>
          <a:r>
            <a:rPr lang="ru-RU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Оформление</a:t>
          </a:r>
          <a:endParaRPr lang="ru-RU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C40D3280-EE28-475B-91B9-369F3E1392B1}" type="parTrans" cxnId="{95FC34E6-06C4-4CE6-BE9D-B702D806998F}">
      <dgm:prSet/>
      <dgm:spPr/>
      <dgm:t>
        <a:bodyPr/>
        <a:lstStyle/>
        <a:p>
          <a:endParaRPr lang="ru-RU"/>
        </a:p>
      </dgm:t>
    </dgm:pt>
    <dgm:pt modelId="{B7FB7E6C-9082-4096-AC7E-8B68C17C2579}" type="sibTrans" cxnId="{95FC34E6-06C4-4CE6-BE9D-B702D806998F}">
      <dgm:prSet/>
      <dgm:spPr/>
      <dgm:t>
        <a:bodyPr/>
        <a:lstStyle/>
        <a:p>
          <a:endParaRPr lang="ru-RU"/>
        </a:p>
      </dgm:t>
    </dgm:pt>
    <dgm:pt modelId="{C304F79D-0B47-4BFC-BD9A-BF517C4701FA}">
      <dgm:prSet phldrT="[Текст]" custT="1"/>
      <dgm:spPr/>
      <dgm:t>
        <a:bodyPr/>
        <a:lstStyle/>
        <a:p>
          <a:r>
            <a:rPr lang="ru-RU" sz="1200" dirty="0" smtClean="0"/>
            <a:t>Выберите реквизиты поездки (маршрут, дата)</a:t>
          </a:r>
          <a:endParaRPr lang="ru-RU" sz="1200" dirty="0"/>
        </a:p>
      </dgm:t>
    </dgm:pt>
    <dgm:pt modelId="{8E0621B1-CA15-4D43-A881-A60298A94687}" type="parTrans" cxnId="{3385B35B-C554-4418-A359-F5D122F05FF7}">
      <dgm:prSet/>
      <dgm:spPr/>
      <dgm:t>
        <a:bodyPr/>
        <a:lstStyle/>
        <a:p>
          <a:endParaRPr lang="ru-RU"/>
        </a:p>
      </dgm:t>
    </dgm:pt>
    <dgm:pt modelId="{E400AF3F-7494-4766-9514-AAA4AEE83EE1}" type="sibTrans" cxnId="{3385B35B-C554-4418-A359-F5D122F05FF7}">
      <dgm:prSet/>
      <dgm:spPr/>
      <dgm:t>
        <a:bodyPr/>
        <a:lstStyle/>
        <a:p>
          <a:endParaRPr lang="ru-RU"/>
        </a:p>
      </dgm:t>
    </dgm:pt>
    <dgm:pt modelId="{455B47A2-F24E-4AE5-A302-38A133B598C9}">
      <dgm:prSet phldrT="[Текст]" custT="1"/>
      <dgm:spPr/>
      <dgm:t>
        <a:bodyPr/>
        <a:lstStyle/>
        <a:p>
          <a:r>
            <a:rPr lang="ru-RU" sz="1200" dirty="0" smtClean="0"/>
            <a:t>Выберите поезд и вагон, соответствующий Вашему запросу</a:t>
          </a:r>
          <a:endParaRPr lang="ru-RU" sz="1200" dirty="0"/>
        </a:p>
      </dgm:t>
    </dgm:pt>
    <dgm:pt modelId="{8084E0CC-AE3A-4FD7-9C71-1309D833F6FB}" type="parTrans" cxnId="{9B37B461-8A45-4E49-84C1-F0B9E0309CF5}">
      <dgm:prSet/>
      <dgm:spPr/>
      <dgm:t>
        <a:bodyPr/>
        <a:lstStyle/>
        <a:p>
          <a:endParaRPr lang="ru-RU"/>
        </a:p>
      </dgm:t>
    </dgm:pt>
    <dgm:pt modelId="{C063FCE4-A115-4D96-9C86-B6CB4A1629F5}" type="sibTrans" cxnId="{9B37B461-8A45-4E49-84C1-F0B9E0309CF5}">
      <dgm:prSet/>
      <dgm:spPr/>
      <dgm:t>
        <a:bodyPr/>
        <a:lstStyle/>
        <a:p>
          <a:endParaRPr lang="ru-RU"/>
        </a:p>
      </dgm:t>
    </dgm:pt>
    <dgm:pt modelId="{8B6862CD-696D-4556-84AF-504390B2BE5D}">
      <dgm:prSet phldrT="[Текст]"/>
      <dgm:spPr/>
      <dgm:t>
        <a:bodyPr/>
        <a:lstStyle/>
        <a:p>
          <a:endParaRPr lang="ru-RU" sz="1000" dirty="0"/>
        </a:p>
      </dgm:t>
    </dgm:pt>
    <dgm:pt modelId="{8972C1B2-6B81-4961-B667-EADD2C318916}" type="parTrans" cxnId="{C19004A4-B304-41D1-9722-B066B6AA48B4}">
      <dgm:prSet/>
      <dgm:spPr/>
      <dgm:t>
        <a:bodyPr/>
        <a:lstStyle/>
        <a:p>
          <a:endParaRPr lang="ru-RU"/>
        </a:p>
      </dgm:t>
    </dgm:pt>
    <dgm:pt modelId="{62644528-DB41-4DAA-9F63-FC6F420D4BE8}" type="sibTrans" cxnId="{C19004A4-B304-41D1-9722-B066B6AA48B4}">
      <dgm:prSet/>
      <dgm:spPr/>
      <dgm:t>
        <a:bodyPr/>
        <a:lstStyle/>
        <a:p>
          <a:endParaRPr lang="ru-RU"/>
        </a:p>
      </dgm:t>
    </dgm:pt>
    <dgm:pt modelId="{EFF18FA6-0672-4178-9CE7-A31127902688}">
      <dgm:prSet phldrT="[Текст]"/>
      <dgm:spPr/>
      <dgm:t>
        <a:bodyPr/>
        <a:lstStyle/>
        <a:p>
          <a:pPr>
            <a:spcAft>
              <a:spcPts val="0"/>
            </a:spcAft>
          </a:pPr>
          <a:endParaRPr lang="ru-RU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>
            <a:spcAft>
              <a:spcPts val="0"/>
            </a:spcAft>
          </a:pPr>
          <a:r>
            <a:rPr lang="ru-RU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Оплата</a:t>
          </a:r>
          <a:endParaRPr lang="ru-RU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1709D985-49CC-4409-97CA-3F297AD4D538}" type="parTrans" cxnId="{5A10EE52-C2A1-44EF-BBA3-B3130EF69E98}">
      <dgm:prSet/>
      <dgm:spPr/>
      <dgm:t>
        <a:bodyPr/>
        <a:lstStyle/>
        <a:p>
          <a:endParaRPr lang="ru-RU"/>
        </a:p>
      </dgm:t>
    </dgm:pt>
    <dgm:pt modelId="{7B176577-3E22-4B57-BD2E-E072A9FBDE9A}" type="sibTrans" cxnId="{5A10EE52-C2A1-44EF-BBA3-B3130EF69E98}">
      <dgm:prSet/>
      <dgm:spPr/>
      <dgm:t>
        <a:bodyPr/>
        <a:lstStyle/>
        <a:p>
          <a:endParaRPr lang="ru-RU"/>
        </a:p>
      </dgm:t>
    </dgm:pt>
    <dgm:pt modelId="{51C9DDBF-3A39-4AEF-8645-934B7C245279}">
      <dgm:prSet custT="1"/>
      <dgm:spPr/>
      <dgm:t>
        <a:bodyPr/>
        <a:lstStyle/>
        <a:p>
          <a:r>
            <a:rPr lang="ru-RU" sz="1200" dirty="0" smtClean="0"/>
            <a:t>Заполните персональные данные, уточнив категорию тарифа</a:t>
          </a:r>
          <a:endParaRPr lang="ru-RU" sz="1200" dirty="0"/>
        </a:p>
      </dgm:t>
    </dgm:pt>
    <dgm:pt modelId="{8FEB44AB-E125-432D-97F0-C7975453E8E4}" type="parTrans" cxnId="{3DE70B8C-CF10-4D05-8D1D-CF8350B73446}">
      <dgm:prSet/>
      <dgm:spPr/>
      <dgm:t>
        <a:bodyPr/>
        <a:lstStyle/>
        <a:p>
          <a:endParaRPr lang="ru-RU"/>
        </a:p>
      </dgm:t>
    </dgm:pt>
    <dgm:pt modelId="{7FF47DF7-3EF1-407D-A19A-CD67128C9247}" type="sibTrans" cxnId="{3DE70B8C-CF10-4D05-8D1D-CF8350B73446}">
      <dgm:prSet/>
      <dgm:spPr/>
      <dgm:t>
        <a:bodyPr/>
        <a:lstStyle/>
        <a:p>
          <a:endParaRPr lang="ru-RU"/>
        </a:p>
      </dgm:t>
    </dgm:pt>
    <dgm:pt modelId="{4A7A680D-3C6F-450C-ACCE-E2BEF62E438B}">
      <dgm:prSet custT="1"/>
      <dgm:spPr/>
      <dgm:t>
        <a:bodyPr/>
        <a:lstStyle/>
        <a:p>
          <a:r>
            <a:rPr lang="ru-RU" sz="1200" dirty="0" smtClean="0"/>
            <a:t>Оплатите билет с помощью банковской карты</a:t>
          </a:r>
          <a:endParaRPr lang="ru-RU" sz="1200" dirty="0"/>
        </a:p>
      </dgm:t>
    </dgm:pt>
    <dgm:pt modelId="{483EC51B-8E07-417D-B61B-F17C57D96E0D}" type="parTrans" cxnId="{474DFB7B-2147-4891-827F-F5B13DD8E67B}">
      <dgm:prSet/>
      <dgm:spPr/>
      <dgm:t>
        <a:bodyPr/>
        <a:lstStyle/>
        <a:p>
          <a:endParaRPr lang="ru-RU"/>
        </a:p>
      </dgm:t>
    </dgm:pt>
    <dgm:pt modelId="{98CC70C7-81FF-403F-9E4B-3E102BE676B5}" type="sibTrans" cxnId="{474DFB7B-2147-4891-827F-F5B13DD8E67B}">
      <dgm:prSet/>
      <dgm:spPr/>
      <dgm:t>
        <a:bodyPr/>
        <a:lstStyle/>
        <a:p>
          <a:endParaRPr lang="ru-RU"/>
        </a:p>
      </dgm:t>
    </dgm:pt>
    <dgm:pt modelId="{A27A1B50-BCD4-4F73-8425-CE1B7490F054}">
      <dgm:prSet/>
      <dgm:spPr/>
      <dgm:t>
        <a:bodyPr/>
        <a:lstStyle/>
        <a:p>
          <a:endParaRPr lang="ru-RU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r>
            <a:rPr lang="ru-RU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Билет</a:t>
          </a:r>
          <a:endParaRPr lang="ru-RU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F77873CC-42AC-404C-96C6-D3B4D407CE5B}" type="parTrans" cxnId="{650E4F7C-134F-460D-88DE-DA51D1AE95CF}">
      <dgm:prSet/>
      <dgm:spPr/>
      <dgm:t>
        <a:bodyPr/>
        <a:lstStyle/>
        <a:p>
          <a:endParaRPr lang="ru-RU"/>
        </a:p>
      </dgm:t>
    </dgm:pt>
    <dgm:pt modelId="{57CCEA55-8648-4805-B824-689171E37708}" type="sibTrans" cxnId="{650E4F7C-134F-460D-88DE-DA51D1AE95CF}">
      <dgm:prSet/>
      <dgm:spPr/>
      <dgm:t>
        <a:bodyPr/>
        <a:lstStyle/>
        <a:p>
          <a:endParaRPr lang="ru-RU"/>
        </a:p>
      </dgm:t>
    </dgm:pt>
    <dgm:pt modelId="{762B7C70-2780-48B2-852A-7FF129F7C9AF}">
      <dgm:prSet custT="1"/>
      <dgm:spPr/>
      <dgm:t>
        <a:bodyPr/>
        <a:lstStyle/>
        <a:p>
          <a:r>
            <a:rPr lang="ru-RU" sz="1200" dirty="0" smtClean="0"/>
            <a:t>Получите посадочный купон</a:t>
          </a:r>
          <a:endParaRPr lang="ru-RU" sz="1200" dirty="0"/>
        </a:p>
      </dgm:t>
    </dgm:pt>
    <dgm:pt modelId="{F80A58F4-66E2-4134-B730-913711396961}" type="parTrans" cxnId="{1D40BE85-6F6D-42BD-A62D-C14A14EA7FAC}">
      <dgm:prSet/>
      <dgm:spPr/>
      <dgm:t>
        <a:bodyPr/>
        <a:lstStyle/>
        <a:p>
          <a:endParaRPr lang="ru-RU"/>
        </a:p>
      </dgm:t>
    </dgm:pt>
    <dgm:pt modelId="{A0A014E7-A514-4B4C-BBC1-B785E43EB5D0}" type="sibTrans" cxnId="{1D40BE85-6F6D-42BD-A62D-C14A14EA7FAC}">
      <dgm:prSet/>
      <dgm:spPr/>
      <dgm:t>
        <a:bodyPr/>
        <a:lstStyle/>
        <a:p>
          <a:endParaRPr lang="ru-RU"/>
        </a:p>
      </dgm:t>
    </dgm:pt>
    <dgm:pt modelId="{6BA311EB-E6CE-4AC7-8302-4634AD785853}">
      <dgm:prSet phldrT="[Текст]" custT="1"/>
      <dgm:spPr/>
      <dgm:t>
        <a:bodyPr/>
        <a:lstStyle/>
        <a:p>
          <a:endParaRPr lang="ru-RU" sz="1200" dirty="0"/>
        </a:p>
      </dgm:t>
    </dgm:pt>
    <dgm:pt modelId="{6F2B7E34-1439-43F6-B9BD-61E9104B1611}" type="parTrans" cxnId="{68E97705-A256-45E4-B35A-0DA0A3BA5698}">
      <dgm:prSet/>
      <dgm:spPr/>
    </dgm:pt>
    <dgm:pt modelId="{54C2B82F-58B5-4014-8AE3-0C3DA3030352}" type="sibTrans" cxnId="{68E97705-A256-45E4-B35A-0DA0A3BA5698}">
      <dgm:prSet/>
      <dgm:spPr/>
    </dgm:pt>
    <dgm:pt modelId="{03E25DDF-10DD-4445-8817-4F6E8630A835}" type="pres">
      <dgm:prSet presAssocID="{6BA0A1A5-E4F9-40E3-8971-52F74E22E2CE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FC532A6-38AE-41CB-A51C-AEEA57274221}" type="pres">
      <dgm:prSet presAssocID="{79A70D55-BF66-4D0F-B183-38FFA619621A}" presName="composite" presStyleCnt="0"/>
      <dgm:spPr/>
      <dgm:t>
        <a:bodyPr/>
        <a:lstStyle/>
        <a:p>
          <a:endParaRPr lang="ru-RU"/>
        </a:p>
      </dgm:t>
    </dgm:pt>
    <dgm:pt modelId="{6F9975CE-DE21-43CA-A2A0-01D1FBC21685}" type="pres">
      <dgm:prSet presAssocID="{79A70D55-BF66-4D0F-B183-38FFA619621A}" presName="parentText" presStyleLbl="alignNode1" presStyleIdx="0" presStyleCnt="5" custScaleX="2081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056FDD8-3A9D-4BFD-AF27-0FED37D7CBE3}" type="pres">
      <dgm:prSet presAssocID="{79A70D55-BF66-4D0F-B183-38FFA619621A}" presName="descendantText" presStyleLbl="alignAcc1" presStyleIdx="0" presStyleCnt="5" custScaleX="825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597F1AB-4625-4D32-83A7-3F4A242C72AF}" type="pres">
      <dgm:prSet presAssocID="{F3D24A7E-7E9B-4AF8-8EED-768BCC8A6BE0}" presName="sp" presStyleCnt="0"/>
      <dgm:spPr/>
      <dgm:t>
        <a:bodyPr/>
        <a:lstStyle/>
        <a:p>
          <a:endParaRPr lang="ru-RU"/>
        </a:p>
      </dgm:t>
    </dgm:pt>
    <dgm:pt modelId="{2ABD04C1-0F93-4588-BD36-FA078794B9A6}" type="pres">
      <dgm:prSet presAssocID="{3E45F5AE-DCF6-4DE3-B685-F9B4F76B00F7}" presName="composite" presStyleCnt="0"/>
      <dgm:spPr/>
      <dgm:t>
        <a:bodyPr/>
        <a:lstStyle/>
        <a:p>
          <a:endParaRPr lang="ru-RU"/>
        </a:p>
      </dgm:t>
    </dgm:pt>
    <dgm:pt modelId="{BCE081E2-4520-4AD4-A135-08231465E62C}" type="pres">
      <dgm:prSet presAssocID="{3E45F5AE-DCF6-4DE3-B685-F9B4F76B00F7}" presName="parentText" presStyleLbl="alignNode1" presStyleIdx="1" presStyleCnt="5" custScaleX="21061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8A8F335-D537-47B4-87FA-BEEC056B4FB0}" type="pres">
      <dgm:prSet presAssocID="{3E45F5AE-DCF6-4DE3-B685-F9B4F76B00F7}" presName="descendantText" presStyleLbl="alignAcc1" presStyleIdx="1" presStyleCnt="5" custScaleX="825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1FA0803-63C7-449D-A387-87F2493BF45F}" type="pres">
      <dgm:prSet presAssocID="{ED1F90DB-10A2-41EE-9E7E-7797B3E57AB4}" presName="sp" presStyleCnt="0"/>
      <dgm:spPr/>
      <dgm:t>
        <a:bodyPr/>
        <a:lstStyle/>
        <a:p>
          <a:endParaRPr lang="ru-RU"/>
        </a:p>
      </dgm:t>
    </dgm:pt>
    <dgm:pt modelId="{36DE47AB-E2BD-4409-A517-2965BC9F992D}" type="pres">
      <dgm:prSet presAssocID="{898065EF-EB26-497A-A63B-C25073046D81}" presName="composite" presStyleCnt="0"/>
      <dgm:spPr/>
      <dgm:t>
        <a:bodyPr/>
        <a:lstStyle/>
        <a:p>
          <a:endParaRPr lang="ru-RU"/>
        </a:p>
      </dgm:t>
    </dgm:pt>
    <dgm:pt modelId="{EBEC2CB4-D4E4-4E8B-B8F6-D6FE8C0A65D6}" type="pres">
      <dgm:prSet presAssocID="{898065EF-EB26-497A-A63B-C25073046D81}" presName="parentText" presStyleLbl="alignNode1" presStyleIdx="2" presStyleCnt="5" custScaleX="21587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3EB2271-6316-4181-BB71-BD599D826EA8}" type="pres">
      <dgm:prSet presAssocID="{898065EF-EB26-497A-A63B-C25073046D81}" presName="descendantText" presStyleLbl="alignAcc1" presStyleIdx="2" presStyleCnt="5" custScaleX="82386" custScale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0AAE2DA-EF54-4942-80D2-BDD7E2E46FFB}" type="pres">
      <dgm:prSet presAssocID="{B7FB7E6C-9082-4096-AC7E-8B68C17C2579}" presName="sp" presStyleCnt="0"/>
      <dgm:spPr/>
      <dgm:t>
        <a:bodyPr/>
        <a:lstStyle/>
        <a:p>
          <a:endParaRPr lang="ru-RU"/>
        </a:p>
      </dgm:t>
    </dgm:pt>
    <dgm:pt modelId="{6E92E496-AD8C-4652-9173-82C3C812BB09}" type="pres">
      <dgm:prSet presAssocID="{EFF18FA6-0672-4178-9CE7-A31127902688}" presName="composite" presStyleCnt="0"/>
      <dgm:spPr/>
      <dgm:t>
        <a:bodyPr/>
        <a:lstStyle/>
        <a:p>
          <a:endParaRPr lang="ru-RU"/>
        </a:p>
      </dgm:t>
    </dgm:pt>
    <dgm:pt modelId="{BF520CA3-F97E-42D1-96AF-B8E02F494AB4}" type="pres">
      <dgm:prSet presAssocID="{EFF18FA6-0672-4178-9CE7-A31127902688}" presName="parentText" presStyleLbl="alignNode1" presStyleIdx="3" presStyleCnt="5" custScaleX="222631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D05046-1DCA-4816-82D0-7A03BB586AB5}" type="pres">
      <dgm:prSet presAssocID="{EFF18FA6-0672-4178-9CE7-A31127902688}" presName="descendantText" presStyleLbl="alignAcc1" presStyleIdx="3" presStyleCnt="5" custScaleX="825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36CDBEF-69E7-48EB-9880-C772C202850A}" type="pres">
      <dgm:prSet presAssocID="{7B176577-3E22-4B57-BD2E-E072A9FBDE9A}" presName="sp" presStyleCnt="0"/>
      <dgm:spPr/>
      <dgm:t>
        <a:bodyPr/>
        <a:lstStyle/>
        <a:p>
          <a:endParaRPr lang="ru-RU"/>
        </a:p>
      </dgm:t>
    </dgm:pt>
    <dgm:pt modelId="{E9B659FE-4DA4-4A3A-ACEF-21C6E6640D23}" type="pres">
      <dgm:prSet presAssocID="{A27A1B50-BCD4-4F73-8425-CE1B7490F054}" presName="composite" presStyleCnt="0"/>
      <dgm:spPr/>
      <dgm:t>
        <a:bodyPr/>
        <a:lstStyle/>
        <a:p>
          <a:endParaRPr lang="ru-RU"/>
        </a:p>
      </dgm:t>
    </dgm:pt>
    <dgm:pt modelId="{0245CC07-AA98-403B-BB84-F66E23EAD927}" type="pres">
      <dgm:prSet presAssocID="{A27A1B50-BCD4-4F73-8425-CE1B7490F054}" presName="parentText" presStyleLbl="alignNode1" presStyleIdx="4" presStyleCnt="5" custScaleX="218673" custLinFactNeighborX="381" custLinFactNeighborY="-690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2F3D4C-1300-4F07-906B-86D65ECEEAC8}" type="pres">
      <dgm:prSet presAssocID="{A27A1B50-BCD4-4F73-8425-CE1B7490F054}" presName="descendantText" presStyleLbl="alignAcc1" presStyleIdx="4" presStyleCnt="5" custScaleX="825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2447EE1-3E14-460F-B7AB-9142A0A5C5BE}" type="presOf" srcId="{8B6862CD-696D-4556-84AF-504390B2BE5D}" destId="{93EB2271-6316-4181-BB71-BD599D826EA8}" srcOrd="0" destOrd="3" presId="urn:microsoft.com/office/officeart/2005/8/layout/chevron2"/>
    <dgm:cxn modelId="{A2B0120A-4B1E-49EA-8135-211EE1969DCA}" type="presOf" srcId="{673E570B-41FA-45FF-818E-13C55922719E}" destId="{58A8F335-D537-47B4-87FA-BEEC056B4FB0}" srcOrd="0" destOrd="1" presId="urn:microsoft.com/office/officeart/2005/8/layout/chevron2"/>
    <dgm:cxn modelId="{309E29D4-A528-463E-B6F7-FAF3491D607E}" srcId="{6BA0A1A5-E4F9-40E3-8971-52F74E22E2CE}" destId="{3E45F5AE-DCF6-4DE3-B685-F9B4F76B00F7}" srcOrd="1" destOrd="0" parTransId="{C099FBF9-42BD-415F-9084-310EA9ED0B21}" sibTransId="{ED1F90DB-10A2-41EE-9E7E-7797B3E57AB4}"/>
    <dgm:cxn modelId="{3DE70B8C-CF10-4D05-8D1D-CF8350B73446}" srcId="{EFF18FA6-0672-4178-9CE7-A31127902688}" destId="{51C9DDBF-3A39-4AEF-8645-934B7C245279}" srcOrd="0" destOrd="0" parTransId="{8FEB44AB-E125-432D-97F0-C7975453E8E4}" sibTransId="{7FF47DF7-3EF1-407D-A19A-CD67128C9247}"/>
    <dgm:cxn modelId="{474DFB7B-2147-4891-827F-F5B13DD8E67B}" srcId="{EFF18FA6-0672-4178-9CE7-A31127902688}" destId="{4A7A680D-3C6F-450C-ACCE-E2BEF62E438B}" srcOrd="1" destOrd="0" parTransId="{483EC51B-8E07-417D-B61B-F17C57D96E0D}" sibTransId="{98CC70C7-81FF-403F-9E4B-3E102BE676B5}"/>
    <dgm:cxn modelId="{BE1D3493-1C4C-4EAE-9847-773BF2C0254A}" type="presOf" srcId="{A27A1B50-BCD4-4F73-8425-CE1B7490F054}" destId="{0245CC07-AA98-403B-BB84-F66E23EAD927}" srcOrd="0" destOrd="0" presId="urn:microsoft.com/office/officeart/2005/8/layout/chevron2"/>
    <dgm:cxn modelId="{6CCF029C-310A-41D4-930A-5576B4894E92}" type="presOf" srcId="{6BA0A1A5-E4F9-40E3-8971-52F74E22E2CE}" destId="{03E25DDF-10DD-4445-8817-4F6E8630A835}" srcOrd="0" destOrd="0" presId="urn:microsoft.com/office/officeart/2005/8/layout/chevron2"/>
    <dgm:cxn modelId="{1C55C16C-E4B8-4DF4-83C4-478C70E71564}" type="presOf" srcId="{52ABDAA7-3FD5-4797-BE82-4FC6EE5B75B0}" destId="{A056FDD8-3A9D-4BFD-AF27-0FED37D7CBE3}" srcOrd="0" destOrd="0" presId="urn:microsoft.com/office/officeart/2005/8/layout/chevron2"/>
    <dgm:cxn modelId="{966FBD0E-571F-4A37-B83B-7AE158EB50C9}" srcId="{3E45F5AE-DCF6-4DE3-B685-F9B4F76B00F7}" destId="{2839DF8A-65F0-4A0D-88D2-C57BD8E0E2D3}" srcOrd="0" destOrd="0" parTransId="{F3A8F1CE-7015-4D67-8D5A-876C3CA9616D}" sibTransId="{AFD1EC4F-E5F2-44F6-A11E-AB5E29E232C9}"/>
    <dgm:cxn modelId="{5E70BD85-141A-4C6D-8D2B-2E3F1EB155F2}" srcId="{79A70D55-BF66-4D0F-B183-38FFA619621A}" destId="{52ABDAA7-3FD5-4797-BE82-4FC6EE5B75B0}" srcOrd="0" destOrd="0" parTransId="{2DD95BBF-817C-4F47-AD02-1C33C4085F85}" sibTransId="{34397170-B057-42B1-A419-B0686928ECC6}"/>
    <dgm:cxn modelId="{9B37B461-8A45-4E49-84C1-F0B9E0309CF5}" srcId="{898065EF-EB26-497A-A63B-C25073046D81}" destId="{455B47A2-F24E-4AE5-A302-38A133B598C9}" srcOrd="2" destOrd="0" parTransId="{8084E0CC-AE3A-4FD7-9C71-1309D833F6FB}" sibTransId="{C063FCE4-A115-4D96-9C86-B6CB4A1629F5}"/>
    <dgm:cxn modelId="{5A10EE52-C2A1-44EF-BBA3-B3130EF69E98}" srcId="{6BA0A1A5-E4F9-40E3-8971-52F74E22E2CE}" destId="{EFF18FA6-0672-4178-9CE7-A31127902688}" srcOrd="3" destOrd="0" parTransId="{1709D985-49CC-4409-97CA-3F297AD4D538}" sibTransId="{7B176577-3E22-4B57-BD2E-E072A9FBDE9A}"/>
    <dgm:cxn modelId="{792E7F10-E8B6-4089-A42C-EC8A7DC058CB}" type="presOf" srcId="{6BA311EB-E6CE-4AC7-8302-4634AD785853}" destId="{93EB2271-6316-4181-BB71-BD599D826EA8}" srcOrd="0" destOrd="0" presId="urn:microsoft.com/office/officeart/2005/8/layout/chevron2"/>
    <dgm:cxn modelId="{95FC34E6-06C4-4CE6-BE9D-B702D806998F}" srcId="{6BA0A1A5-E4F9-40E3-8971-52F74E22E2CE}" destId="{898065EF-EB26-497A-A63B-C25073046D81}" srcOrd="2" destOrd="0" parTransId="{C40D3280-EE28-475B-91B9-369F3E1392B1}" sibTransId="{B7FB7E6C-9082-4096-AC7E-8B68C17C2579}"/>
    <dgm:cxn modelId="{179EEEBF-4086-46C3-A445-0DB21003DCFA}" type="presOf" srcId="{3E45F5AE-DCF6-4DE3-B685-F9B4F76B00F7}" destId="{BCE081E2-4520-4AD4-A135-08231465E62C}" srcOrd="0" destOrd="0" presId="urn:microsoft.com/office/officeart/2005/8/layout/chevron2"/>
    <dgm:cxn modelId="{650E4F7C-134F-460D-88DE-DA51D1AE95CF}" srcId="{6BA0A1A5-E4F9-40E3-8971-52F74E22E2CE}" destId="{A27A1B50-BCD4-4F73-8425-CE1B7490F054}" srcOrd="4" destOrd="0" parTransId="{F77873CC-42AC-404C-96C6-D3B4D407CE5B}" sibTransId="{57CCEA55-8648-4805-B824-689171E37708}"/>
    <dgm:cxn modelId="{1D40BE85-6F6D-42BD-A62D-C14A14EA7FAC}" srcId="{A27A1B50-BCD4-4F73-8425-CE1B7490F054}" destId="{762B7C70-2780-48B2-852A-7FF129F7C9AF}" srcOrd="0" destOrd="0" parTransId="{F80A58F4-66E2-4134-B730-913711396961}" sibTransId="{A0A014E7-A514-4B4C-BBC1-B785E43EB5D0}"/>
    <dgm:cxn modelId="{1B6D5CB7-3D39-4E32-9C37-071BE56BD74B}" type="presOf" srcId="{762B7C70-2780-48B2-852A-7FF129F7C9AF}" destId="{912F3D4C-1300-4F07-906B-86D65ECEEAC8}" srcOrd="0" destOrd="0" presId="urn:microsoft.com/office/officeart/2005/8/layout/chevron2"/>
    <dgm:cxn modelId="{31A94CE4-4D23-4D20-9076-46D506D77BB1}" type="presOf" srcId="{79A70D55-BF66-4D0F-B183-38FFA619621A}" destId="{6F9975CE-DE21-43CA-A2A0-01D1FBC21685}" srcOrd="0" destOrd="0" presId="urn:microsoft.com/office/officeart/2005/8/layout/chevron2"/>
    <dgm:cxn modelId="{0B73C1DC-5DFB-4EEB-ABFB-84BF3AC12B98}" type="presOf" srcId="{EFF18FA6-0672-4178-9CE7-A31127902688}" destId="{BF520CA3-F97E-42D1-96AF-B8E02F494AB4}" srcOrd="0" destOrd="0" presId="urn:microsoft.com/office/officeart/2005/8/layout/chevron2"/>
    <dgm:cxn modelId="{8E9E9FD6-A512-4031-B4C7-3F7B771CCC31}" type="presOf" srcId="{51C9DDBF-3A39-4AEF-8645-934B7C245279}" destId="{74D05046-1DCA-4816-82D0-7A03BB586AB5}" srcOrd="0" destOrd="0" presId="urn:microsoft.com/office/officeart/2005/8/layout/chevron2"/>
    <dgm:cxn modelId="{C32AA98C-087D-46B9-8158-579D5367E037}" srcId="{6BA0A1A5-E4F9-40E3-8971-52F74E22E2CE}" destId="{79A70D55-BF66-4D0F-B183-38FFA619621A}" srcOrd="0" destOrd="0" parTransId="{9C22302D-2FDA-4F57-9A5C-ED704EDF4260}" sibTransId="{F3D24A7E-7E9B-4AF8-8EED-768BCC8A6BE0}"/>
    <dgm:cxn modelId="{28FB9870-0E5B-43D1-AA93-E4871673B578}" type="presOf" srcId="{455B47A2-F24E-4AE5-A302-38A133B598C9}" destId="{93EB2271-6316-4181-BB71-BD599D826EA8}" srcOrd="0" destOrd="2" presId="urn:microsoft.com/office/officeart/2005/8/layout/chevron2"/>
    <dgm:cxn modelId="{CEC47C96-34A8-4AE7-8BA5-9EED20EB01E2}" type="presOf" srcId="{898065EF-EB26-497A-A63B-C25073046D81}" destId="{EBEC2CB4-D4E4-4E8B-B8F6-D6FE8C0A65D6}" srcOrd="0" destOrd="0" presId="urn:microsoft.com/office/officeart/2005/8/layout/chevron2"/>
    <dgm:cxn modelId="{C19004A4-B304-41D1-9722-B066B6AA48B4}" srcId="{898065EF-EB26-497A-A63B-C25073046D81}" destId="{8B6862CD-696D-4556-84AF-504390B2BE5D}" srcOrd="3" destOrd="0" parTransId="{8972C1B2-6B81-4961-B667-EADD2C318916}" sibTransId="{62644528-DB41-4DAA-9F63-FC6F420D4BE8}"/>
    <dgm:cxn modelId="{844F169C-B929-4314-9C2C-E6B4DF230027}" type="presOf" srcId="{2839DF8A-65F0-4A0D-88D2-C57BD8E0E2D3}" destId="{58A8F335-D537-47B4-87FA-BEEC056B4FB0}" srcOrd="0" destOrd="0" presId="urn:microsoft.com/office/officeart/2005/8/layout/chevron2"/>
    <dgm:cxn modelId="{B1877739-7F3D-4D0F-B028-009D761DE7B8}" type="presOf" srcId="{4A7A680D-3C6F-450C-ACCE-E2BEF62E438B}" destId="{74D05046-1DCA-4816-82D0-7A03BB586AB5}" srcOrd="0" destOrd="1" presId="urn:microsoft.com/office/officeart/2005/8/layout/chevron2"/>
    <dgm:cxn modelId="{62AF7A14-3843-449C-A62E-D1911136E9F7}" type="presOf" srcId="{C304F79D-0B47-4BFC-BD9A-BF517C4701FA}" destId="{93EB2271-6316-4181-BB71-BD599D826EA8}" srcOrd="0" destOrd="1" presId="urn:microsoft.com/office/officeart/2005/8/layout/chevron2"/>
    <dgm:cxn modelId="{3385B35B-C554-4418-A359-F5D122F05FF7}" srcId="{898065EF-EB26-497A-A63B-C25073046D81}" destId="{C304F79D-0B47-4BFC-BD9A-BF517C4701FA}" srcOrd="1" destOrd="0" parTransId="{8E0621B1-CA15-4D43-A881-A60298A94687}" sibTransId="{E400AF3F-7494-4766-9514-AAA4AEE83EE1}"/>
    <dgm:cxn modelId="{68E97705-A256-45E4-B35A-0DA0A3BA5698}" srcId="{898065EF-EB26-497A-A63B-C25073046D81}" destId="{6BA311EB-E6CE-4AC7-8302-4634AD785853}" srcOrd="0" destOrd="0" parTransId="{6F2B7E34-1439-43F6-B9BD-61E9104B1611}" sibTransId="{54C2B82F-58B5-4014-8AE3-0C3DA3030352}"/>
    <dgm:cxn modelId="{9190CEA6-499F-4BCD-B67C-5942E59AA850}" srcId="{3E45F5AE-DCF6-4DE3-B685-F9B4F76B00F7}" destId="{673E570B-41FA-45FF-818E-13C55922719E}" srcOrd="1" destOrd="0" parTransId="{450499F1-37D9-4AE1-B7C4-C2F0CF6E569E}" sibTransId="{CEF2FD5D-86C2-4E59-BD08-AAE53AC1F5BC}"/>
    <dgm:cxn modelId="{C78F36FA-7F3E-4061-9C82-2C1F92CF1407}" type="presParOf" srcId="{03E25DDF-10DD-4445-8817-4F6E8630A835}" destId="{CFC532A6-38AE-41CB-A51C-AEEA57274221}" srcOrd="0" destOrd="0" presId="urn:microsoft.com/office/officeart/2005/8/layout/chevron2"/>
    <dgm:cxn modelId="{C4543209-566C-4C1F-AA24-4061F369775F}" type="presParOf" srcId="{CFC532A6-38AE-41CB-A51C-AEEA57274221}" destId="{6F9975CE-DE21-43CA-A2A0-01D1FBC21685}" srcOrd="0" destOrd="0" presId="urn:microsoft.com/office/officeart/2005/8/layout/chevron2"/>
    <dgm:cxn modelId="{F6618AC7-B4FB-448C-AC2B-E947C1E3F70E}" type="presParOf" srcId="{CFC532A6-38AE-41CB-A51C-AEEA57274221}" destId="{A056FDD8-3A9D-4BFD-AF27-0FED37D7CBE3}" srcOrd="1" destOrd="0" presId="urn:microsoft.com/office/officeart/2005/8/layout/chevron2"/>
    <dgm:cxn modelId="{63260EEE-0821-48E7-8285-95C116EAE343}" type="presParOf" srcId="{03E25DDF-10DD-4445-8817-4F6E8630A835}" destId="{8597F1AB-4625-4D32-83A7-3F4A242C72AF}" srcOrd="1" destOrd="0" presId="urn:microsoft.com/office/officeart/2005/8/layout/chevron2"/>
    <dgm:cxn modelId="{19D2DA59-2EC1-4EBB-B916-2C44B8A25B6E}" type="presParOf" srcId="{03E25DDF-10DD-4445-8817-4F6E8630A835}" destId="{2ABD04C1-0F93-4588-BD36-FA078794B9A6}" srcOrd="2" destOrd="0" presId="urn:microsoft.com/office/officeart/2005/8/layout/chevron2"/>
    <dgm:cxn modelId="{6BEFF335-DCC6-411D-8064-E37099BA692F}" type="presParOf" srcId="{2ABD04C1-0F93-4588-BD36-FA078794B9A6}" destId="{BCE081E2-4520-4AD4-A135-08231465E62C}" srcOrd="0" destOrd="0" presId="urn:microsoft.com/office/officeart/2005/8/layout/chevron2"/>
    <dgm:cxn modelId="{C56E647A-1885-4930-B6C9-50C25444FCCE}" type="presParOf" srcId="{2ABD04C1-0F93-4588-BD36-FA078794B9A6}" destId="{58A8F335-D537-47B4-87FA-BEEC056B4FB0}" srcOrd="1" destOrd="0" presId="urn:microsoft.com/office/officeart/2005/8/layout/chevron2"/>
    <dgm:cxn modelId="{019FD92D-B981-448C-A28B-A8A6C274D3C5}" type="presParOf" srcId="{03E25DDF-10DD-4445-8817-4F6E8630A835}" destId="{61FA0803-63C7-449D-A387-87F2493BF45F}" srcOrd="3" destOrd="0" presId="urn:microsoft.com/office/officeart/2005/8/layout/chevron2"/>
    <dgm:cxn modelId="{DBEC0018-95B3-4A3E-A480-BEDDF4BE1D04}" type="presParOf" srcId="{03E25DDF-10DD-4445-8817-4F6E8630A835}" destId="{36DE47AB-E2BD-4409-A517-2965BC9F992D}" srcOrd="4" destOrd="0" presId="urn:microsoft.com/office/officeart/2005/8/layout/chevron2"/>
    <dgm:cxn modelId="{E79322D1-475D-4EF5-A5E8-0A4659C2787A}" type="presParOf" srcId="{36DE47AB-E2BD-4409-A517-2965BC9F992D}" destId="{EBEC2CB4-D4E4-4E8B-B8F6-D6FE8C0A65D6}" srcOrd="0" destOrd="0" presId="urn:microsoft.com/office/officeart/2005/8/layout/chevron2"/>
    <dgm:cxn modelId="{201DA62C-F118-4570-BD90-FFD2BD2C9D12}" type="presParOf" srcId="{36DE47AB-E2BD-4409-A517-2965BC9F992D}" destId="{93EB2271-6316-4181-BB71-BD599D826EA8}" srcOrd="1" destOrd="0" presId="urn:microsoft.com/office/officeart/2005/8/layout/chevron2"/>
    <dgm:cxn modelId="{A2419B12-0A96-4008-AAFA-35CA67A2F19C}" type="presParOf" srcId="{03E25DDF-10DD-4445-8817-4F6E8630A835}" destId="{E0AAE2DA-EF54-4942-80D2-BDD7E2E46FFB}" srcOrd="5" destOrd="0" presId="urn:microsoft.com/office/officeart/2005/8/layout/chevron2"/>
    <dgm:cxn modelId="{3F3F2ED4-7695-49A7-A4CA-89D0516FD1E2}" type="presParOf" srcId="{03E25DDF-10DD-4445-8817-4F6E8630A835}" destId="{6E92E496-AD8C-4652-9173-82C3C812BB09}" srcOrd="6" destOrd="0" presId="urn:microsoft.com/office/officeart/2005/8/layout/chevron2"/>
    <dgm:cxn modelId="{F7C8D505-4AA0-4767-8D4D-92897203DD54}" type="presParOf" srcId="{6E92E496-AD8C-4652-9173-82C3C812BB09}" destId="{BF520CA3-F97E-42D1-96AF-B8E02F494AB4}" srcOrd="0" destOrd="0" presId="urn:microsoft.com/office/officeart/2005/8/layout/chevron2"/>
    <dgm:cxn modelId="{572FD2E8-3098-4379-9513-2E478F2CDA5B}" type="presParOf" srcId="{6E92E496-AD8C-4652-9173-82C3C812BB09}" destId="{74D05046-1DCA-4816-82D0-7A03BB586AB5}" srcOrd="1" destOrd="0" presId="urn:microsoft.com/office/officeart/2005/8/layout/chevron2"/>
    <dgm:cxn modelId="{348F1B4F-58EA-4B7B-8F63-C0CD464AFDF7}" type="presParOf" srcId="{03E25DDF-10DD-4445-8817-4F6E8630A835}" destId="{D36CDBEF-69E7-48EB-9880-C772C202850A}" srcOrd="7" destOrd="0" presId="urn:microsoft.com/office/officeart/2005/8/layout/chevron2"/>
    <dgm:cxn modelId="{D5447AC8-195F-4DF7-9DC2-C06F970083A8}" type="presParOf" srcId="{03E25DDF-10DD-4445-8817-4F6E8630A835}" destId="{E9B659FE-4DA4-4A3A-ACEF-21C6E6640D23}" srcOrd="8" destOrd="0" presId="urn:microsoft.com/office/officeart/2005/8/layout/chevron2"/>
    <dgm:cxn modelId="{CD8DAF53-EAFC-473C-97B7-269C4888FCE5}" type="presParOf" srcId="{E9B659FE-4DA4-4A3A-ACEF-21C6E6640D23}" destId="{0245CC07-AA98-403B-BB84-F66E23EAD927}" srcOrd="0" destOrd="0" presId="urn:microsoft.com/office/officeart/2005/8/layout/chevron2"/>
    <dgm:cxn modelId="{036A2002-F207-4D66-8D35-728FBB0565E2}" type="presParOf" srcId="{E9B659FE-4DA4-4A3A-ACEF-21C6E6640D23}" destId="{912F3D4C-1300-4F07-906B-86D65ECEEAC8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5696DB9-FDC7-460C-80BB-293CCCAD4601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D1AF966-9628-4135-B775-8A74DBE38D5E}">
      <dgm:prSet phldrT="[Текст]"/>
      <dgm:spPr/>
      <dgm:t>
        <a:bodyPr/>
        <a:lstStyle/>
        <a:p>
          <a:r>
            <a:rPr lang="ru-RU" dirty="0" smtClean="0"/>
            <a:t>На сайте</a:t>
          </a:r>
          <a:endParaRPr lang="ru-RU" dirty="0"/>
        </a:p>
      </dgm:t>
    </dgm:pt>
    <dgm:pt modelId="{4F97DA91-69E9-4AE3-A88B-07D514B16E67}" type="parTrans" cxnId="{5E46E908-DDAD-4278-B44A-CBD0467B43DC}">
      <dgm:prSet/>
      <dgm:spPr/>
      <dgm:t>
        <a:bodyPr/>
        <a:lstStyle/>
        <a:p>
          <a:endParaRPr lang="ru-RU"/>
        </a:p>
      </dgm:t>
    </dgm:pt>
    <dgm:pt modelId="{D447690E-A290-4E16-8CF6-80F1528097AF}" type="sibTrans" cxnId="{5E46E908-DDAD-4278-B44A-CBD0467B43DC}">
      <dgm:prSet/>
      <dgm:spPr/>
      <dgm:t>
        <a:bodyPr/>
        <a:lstStyle/>
        <a:p>
          <a:endParaRPr lang="ru-RU"/>
        </a:p>
      </dgm:t>
    </dgm:pt>
    <dgm:pt modelId="{D41BBC55-9749-4606-A88E-A84835557EEE}">
      <dgm:prSet phldrT="[Текст]" custT="1"/>
      <dgm:spPr/>
      <dgm:t>
        <a:bodyPr/>
        <a:lstStyle/>
        <a:p>
          <a:r>
            <a:rPr lang="ru-RU" sz="1050" dirty="0" smtClean="0"/>
            <a:t>распечатайте купон или сохраните на электронном устройстве</a:t>
          </a:r>
          <a:endParaRPr lang="ru-RU" sz="1050" dirty="0"/>
        </a:p>
      </dgm:t>
    </dgm:pt>
    <dgm:pt modelId="{511F94BD-0CBB-40E0-A7B8-ED2BB5FFDEEA}" type="parTrans" cxnId="{FD119521-D761-4615-84F9-53D53E85F7B2}">
      <dgm:prSet/>
      <dgm:spPr/>
      <dgm:t>
        <a:bodyPr/>
        <a:lstStyle/>
        <a:p>
          <a:endParaRPr lang="ru-RU"/>
        </a:p>
      </dgm:t>
    </dgm:pt>
    <dgm:pt modelId="{9DEE3C13-FCCE-4F4A-B9CC-08337C378B80}" type="sibTrans" cxnId="{FD119521-D761-4615-84F9-53D53E85F7B2}">
      <dgm:prSet/>
      <dgm:spPr/>
      <dgm:t>
        <a:bodyPr/>
        <a:lstStyle/>
        <a:p>
          <a:endParaRPr lang="ru-RU"/>
        </a:p>
      </dgm:t>
    </dgm:pt>
    <dgm:pt modelId="{D6A1C091-E406-4EAC-8A5B-7314CBB052DC}">
      <dgm:prSet phldrT="[Текст]"/>
      <dgm:spPr/>
      <dgm:t>
        <a:bodyPr/>
        <a:lstStyle/>
        <a:p>
          <a:r>
            <a:rPr lang="ru-RU" dirty="0" smtClean="0"/>
            <a:t>В билетной кассе</a:t>
          </a:r>
          <a:endParaRPr lang="ru-RU" dirty="0"/>
        </a:p>
      </dgm:t>
    </dgm:pt>
    <dgm:pt modelId="{2E7017A4-A7B6-41CA-8C51-F5AEB7CC363D}" type="parTrans" cxnId="{19AF318D-619A-443D-A757-869C4AC93666}">
      <dgm:prSet/>
      <dgm:spPr/>
      <dgm:t>
        <a:bodyPr/>
        <a:lstStyle/>
        <a:p>
          <a:endParaRPr lang="ru-RU"/>
        </a:p>
      </dgm:t>
    </dgm:pt>
    <dgm:pt modelId="{7DE9BAE8-02CA-4702-8921-2F5DDFB4FE51}" type="sibTrans" cxnId="{19AF318D-619A-443D-A757-869C4AC93666}">
      <dgm:prSet/>
      <dgm:spPr/>
      <dgm:t>
        <a:bodyPr/>
        <a:lstStyle/>
        <a:p>
          <a:endParaRPr lang="ru-RU"/>
        </a:p>
      </dgm:t>
    </dgm:pt>
    <dgm:pt modelId="{A153E609-2DB1-4FB2-AA62-3F3F878C1B51}">
      <dgm:prSet phldrT="[Текст]" custT="1"/>
      <dgm:spPr/>
      <dgm:t>
        <a:bodyPr/>
        <a:lstStyle/>
        <a:p>
          <a:r>
            <a:rPr lang="ru-RU" sz="1050" dirty="0" smtClean="0"/>
            <a:t>предъявив 14-тизначный номер заказа</a:t>
          </a:r>
          <a:endParaRPr lang="ru-RU" sz="1050" dirty="0"/>
        </a:p>
      </dgm:t>
    </dgm:pt>
    <dgm:pt modelId="{76FE220C-3F2B-49F7-ABC2-445DD9CCB102}" type="parTrans" cxnId="{9BCFE1E5-7750-4E00-900D-D1F9B0058C22}">
      <dgm:prSet/>
      <dgm:spPr/>
      <dgm:t>
        <a:bodyPr/>
        <a:lstStyle/>
        <a:p>
          <a:endParaRPr lang="ru-RU"/>
        </a:p>
      </dgm:t>
    </dgm:pt>
    <dgm:pt modelId="{88D4FBBE-5C99-45A9-92EF-E188F79987E4}" type="sibTrans" cxnId="{9BCFE1E5-7750-4E00-900D-D1F9B0058C22}">
      <dgm:prSet/>
      <dgm:spPr/>
      <dgm:t>
        <a:bodyPr/>
        <a:lstStyle/>
        <a:p>
          <a:endParaRPr lang="ru-RU"/>
        </a:p>
      </dgm:t>
    </dgm:pt>
    <dgm:pt modelId="{CBD3B5BA-F32F-4B3A-A21A-8535C7E6F44D}">
      <dgm:prSet phldrT="[Текст]"/>
      <dgm:spPr/>
      <dgm:t>
        <a:bodyPr/>
        <a:lstStyle/>
        <a:p>
          <a:r>
            <a:rPr lang="ru-RU" dirty="0" smtClean="0"/>
            <a:t>В ТТС, ТТР</a:t>
          </a:r>
          <a:endParaRPr lang="ru-RU" dirty="0"/>
        </a:p>
      </dgm:t>
    </dgm:pt>
    <dgm:pt modelId="{5EF5FD79-AC91-4AC6-A90E-8289125FFD01}" type="parTrans" cxnId="{AA26FE85-855E-4541-8078-EE5E150E75F0}">
      <dgm:prSet/>
      <dgm:spPr/>
      <dgm:t>
        <a:bodyPr/>
        <a:lstStyle/>
        <a:p>
          <a:endParaRPr lang="ru-RU"/>
        </a:p>
      </dgm:t>
    </dgm:pt>
    <dgm:pt modelId="{6B89D010-DCB2-4868-8324-97DFE02CCC98}" type="sibTrans" cxnId="{AA26FE85-855E-4541-8078-EE5E150E75F0}">
      <dgm:prSet/>
      <dgm:spPr/>
      <dgm:t>
        <a:bodyPr/>
        <a:lstStyle/>
        <a:p>
          <a:endParaRPr lang="ru-RU"/>
        </a:p>
      </dgm:t>
    </dgm:pt>
    <dgm:pt modelId="{3D1604CB-8365-45A6-B6FB-0C7A8EA40261}">
      <dgm:prSet phldrT="[Текст]" custT="1"/>
      <dgm:spPr/>
      <dgm:t>
        <a:bodyPr/>
        <a:lstStyle/>
        <a:p>
          <a:r>
            <a:rPr lang="ru-RU" sz="1050" dirty="0" smtClean="0"/>
            <a:t>Распечатайте билет, указав 14-тизначный код </a:t>
          </a:r>
          <a:endParaRPr lang="ru-RU" sz="1050" dirty="0"/>
        </a:p>
      </dgm:t>
    </dgm:pt>
    <dgm:pt modelId="{40CB86DC-D966-4E95-9422-E2FD0D751012}" type="parTrans" cxnId="{CBACC8D8-EBA4-4DC6-9BA4-E4F9F079589B}">
      <dgm:prSet/>
      <dgm:spPr/>
      <dgm:t>
        <a:bodyPr/>
        <a:lstStyle/>
        <a:p>
          <a:endParaRPr lang="ru-RU"/>
        </a:p>
      </dgm:t>
    </dgm:pt>
    <dgm:pt modelId="{DC794AA5-8A5B-47B8-B3FE-91143B604B72}" type="sibTrans" cxnId="{CBACC8D8-EBA4-4DC6-9BA4-E4F9F079589B}">
      <dgm:prSet/>
      <dgm:spPr/>
      <dgm:t>
        <a:bodyPr/>
        <a:lstStyle/>
        <a:p>
          <a:endParaRPr lang="ru-RU"/>
        </a:p>
      </dgm:t>
    </dgm:pt>
    <dgm:pt modelId="{163464BF-BD6D-41EA-887E-9CA33F524B67}" type="pres">
      <dgm:prSet presAssocID="{E5696DB9-FDC7-460C-80BB-293CCCAD4601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858C2E91-0DC1-4BD7-861C-0EB797F5FBF5}" type="pres">
      <dgm:prSet presAssocID="{ED1AF966-9628-4135-B775-8A74DBE38D5E}" presName="parentText1" presStyleLbl="node1" presStyleIdx="0" presStyleCnt="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33A0C6D-249C-4A16-8E19-A4D3BDF7F280}" type="pres">
      <dgm:prSet presAssocID="{ED1AF966-9628-4135-B775-8A74DBE38D5E}" presName="childText1" presStyleLbl="solidAlignAcc1" presStyleIdx="0" presStyleCnt="3" custScaleY="89044" custLinFactNeighborX="1120" custLinFactNeighborY="-1609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7B28CED-0DAE-485C-93AA-57A6246819F7}" type="pres">
      <dgm:prSet presAssocID="{D6A1C091-E406-4EAC-8A5B-7314CBB052DC}" presName="parentText2" presStyleLbl="node1" presStyleIdx="1" presStyleCnt="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59FB170-A1E7-49E8-8F19-807A3FFE871C}" type="pres">
      <dgm:prSet presAssocID="{D6A1C091-E406-4EAC-8A5B-7314CBB052DC}" presName="childText2" presStyleLbl="solidAlignAcc1" presStyleIdx="1" presStyleCnt="3" custScaleY="74149" custLinFactNeighborY="-1072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2D1B2E5-BC36-4CD5-9ACF-6D7D97B1D63C}" type="pres">
      <dgm:prSet presAssocID="{CBD3B5BA-F32F-4B3A-A21A-8535C7E6F44D}" presName="parentText3" presStyleLbl="node1" presStyleIdx="2" presStyleCnt="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0CC8F9D-93EE-4AB7-A970-C1256659CD9E}" type="pres">
      <dgm:prSet presAssocID="{CBD3B5BA-F32F-4B3A-A21A-8535C7E6F44D}" presName="childText3" presStyleLbl="solidAlignAcc1" presStyleIdx="2" presStyleCnt="3" custScaleY="67246" custLinFactNeighborX="-872" custLinFactNeighborY="-1556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0E601FD-DA68-4988-9764-9C68061919D8}" type="presOf" srcId="{D41BBC55-9749-4606-A88E-A84835557EEE}" destId="{A33A0C6D-249C-4A16-8E19-A4D3BDF7F280}" srcOrd="0" destOrd="0" presId="urn:microsoft.com/office/officeart/2009/3/layout/IncreasingArrowsProcess"/>
    <dgm:cxn modelId="{FC28A1F8-B16A-4965-B8F8-B87336FF2A1B}" type="presOf" srcId="{3D1604CB-8365-45A6-B6FB-0C7A8EA40261}" destId="{30CC8F9D-93EE-4AB7-A970-C1256659CD9E}" srcOrd="0" destOrd="0" presId="urn:microsoft.com/office/officeart/2009/3/layout/IncreasingArrowsProcess"/>
    <dgm:cxn modelId="{D0635D26-C11E-473B-85B3-2093142A982D}" type="presOf" srcId="{CBD3B5BA-F32F-4B3A-A21A-8535C7E6F44D}" destId="{A2D1B2E5-BC36-4CD5-9ACF-6D7D97B1D63C}" srcOrd="0" destOrd="0" presId="urn:microsoft.com/office/officeart/2009/3/layout/IncreasingArrowsProcess"/>
    <dgm:cxn modelId="{14AF4BBB-2BAE-425F-889A-A1A0A8BC22F8}" type="presOf" srcId="{A153E609-2DB1-4FB2-AA62-3F3F878C1B51}" destId="{F59FB170-A1E7-49E8-8F19-807A3FFE871C}" srcOrd="0" destOrd="0" presId="urn:microsoft.com/office/officeart/2009/3/layout/IncreasingArrowsProcess"/>
    <dgm:cxn modelId="{CBACC8D8-EBA4-4DC6-9BA4-E4F9F079589B}" srcId="{CBD3B5BA-F32F-4B3A-A21A-8535C7E6F44D}" destId="{3D1604CB-8365-45A6-B6FB-0C7A8EA40261}" srcOrd="0" destOrd="0" parTransId="{40CB86DC-D966-4E95-9422-E2FD0D751012}" sibTransId="{DC794AA5-8A5B-47B8-B3FE-91143B604B72}"/>
    <dgm:cxn modelId="{5E46E908-DDAD-4278-B44A-CBD0467B43DC}" srcId="{E5696DB9-FDC7-460C-80BB-293CCCAD4601}" destId="{ED1AF966-9628-4135-B775-8A74DBE38D5E}" srcOrd="0" destOrd="0" parTransId="{4F97DA91-69E9-4AE3-A88B-07D514B16E67}" sibTransId="{D447690E-A290-4E16-8CF6-80F1528097AF}"/>
    <dgm:cxn modelId="{9BCFE1E5-7750-4E00-900D-D1F9B0058C22}" srcId="{D6A1C091-E406-4EAC-8A5B-7314CBB052DC}" destId="{A153E609-2DB1-4FB2-AA62-3F3F878C1B51}" srcOrd="0" destOrd="0" parTransId="{76FE220C-3F2B-49F7-ABC2-445DD9CCB102}" sibTransId="{88D4FBBE-5C99-45A9-92EF-E188F79987E4}"/>
    <dgm:cxn modelId="{19AF318D-619A-443D-A757-869C4AC93666}" srcId="{E5696DB9-FDC7-460C-80BB-293CCCAD4601}" destId="{D6A1C091-E406-4EAC-8A5B-7314CBB052DC}" srcOrd="1" destOrd="0" parTransId="{2E7017A4-A7B6-41CA-8C51-F5AEB7CC363D}" sibTransId="{7DE9BAE8-02CA-4702-8921-2F5DDFB4FE51}"/>
    <dgm:cxn modelId="{8CA5CD5A-4B09-4841-9FD9-54A73DE47231}" type="presOf" srcId="{D6A1C091-E406-4EAC-8A5B-7314CBB052DC}" destId="{F7B28CED-0DAE-485C-93AA-57A6246819F7}" srcOrd="0" destOrd="0" presId="urn:microsoft.com/office/officeart/2009/3/layout/IncreasingArrowsProcess"/>
    <dgm:cxn modelId="{FD119521-D761-4615-84F9-53D53E85F7B2}" srcId="{ED1AF966-9628-4135-B775-8A74DBE38D5E}" destId="{D41BBC55-9749-4606-A88E-A84835557EEE}" srcOrd="0" destOrd="0" parTransId="{511F94BD-0CBB-40E0-A7B8-ED2BB5FFDEEA}" sibTransId="{9DEE3C13-FCCE-4F4A-B9CC-08337C378B80}"/>
    <dgm:cxn modelId="{445DFCD0-32D9-4C9C-B568-27BBFBBF653B}" type="presOf" srcId="{ED1AF966-9628-4135-B775-8A74DBE38D5E}" destId="{858C2E91-0DC1-4BD7-861C-0EB797F5FBF5}" srcOrd="0" destOrd="0" presId="urn:microsoft.com/office/officeart/2009/3/layout/IncreasingArrowsProcess"/>
    <dgm:cxn modelId="{AA26FE85-855E-4541-8078-EE5E150E75F0}" srcId="{E5696DB9-FDC7-460C-80BB-293CCCAD4601}" destId="{CBD3B5BA-F32F-4B3A-A21A-8535C7E6F44D}" srcOrd="2" destOrd="0" parTransId="{5EF5FD79-AC91-4AC6-A90E-8289125FFD01}" sibTransId="{6B89D010-DCB2-4868-8324-97DFE02CCC98}"/>
    <dgm:cxn modelId="{E7C0216C-F00C-4579-B2E8-919AA8433B51}" type="presOf" srcId="{E5696DB9-FDC7-460C-80BB-293CCCAD4601}" destId="{163464BF-BD6D-41EA-887E-9CA33F524B67}" srcOrd="0" destOrd="0" presId="urn:microsoft.com/office/officeart/2009/3/layout/IncreasingArrowsProcess"/>
    <dgm:cxn modelId="{75E39A8D-169D-4A67-88A7-38FA5DE71DAD}" type="presParOf" srcId="{163464BF-BD6D-41EA-887E-9CA33F524B67}" destId="{858C2E91-0DC1-4BD7-861C-0EB797F5FBF5}" srcOrd="0" destOrd="0" presId="urn:microsoft.com/office/officeart/2009/3/layout/IncreasingArrowsProcess"/>
    <dgm:cxn modelId="{566EF88F-B7B8-4659-A48C-8274C7B88060}" type="presParOf" srcId="{163464BF-BD6D-41EA-887E-9CA33F524B67}" destId="{A33A0C6D-249C-4A16-8E19-A4D3BDF7F280}" srcOrd="1" destOrd="0" presId="urn:microsoft.com/office/officeart/2009/3/layout/IncreasingArrowsProcess"/>
    <dgm:cxn modelId="{AD6C27DC-8AFB-4E22-9549-173E717BFD93}" type="presParOf" srcId="{163464BF-BD6D-41EA-887E-9CA33F524B67}" destId="{F7B28CED-0DAE-485C-93AA-57A6246819F7}" srcOrd="2" destOrd="0" presId="urn:microsoft.com/office/officeart/2009/3/layout/IncreasingArrowsProcess"/>
    <dgm:cxn modelId="{B66D7A3C-C800-41E3-BE22-0FFD6B1B17FE}" type="presParOf" srcId="{163464BF-BD6D-41EA-887E-9CA33F524B67}" destId="{F59FB170-A1E7-49E8-8F19-807A3FFE871C}" srcOrd="3" destOrd="0" presId="urn:microsoft.com/office/officeart/2009/3/layout/IncreasingArrowsProcess"/>
    <dgm:cxn modelId="{A792AEF8-0336-462C-A8C4-4AEEF38B33C5}" type="presParOf" srcId="{163464BF-BD6D-41EA-887E-9CA33F524B67}" destId="{A2D1B2E5-BC36-4CD5-9ACF-6D7D97B1D63C}" srcOrd="4" destOrd="0" presId="urn:microsoft.com/office/officeart/2009/3/layout/IncreasingArrowsProcess"/>
    <dgm:cxn modelId="{1707FFC2-A7C9-4190-9B9C-050AD399DC58}" type="presParOf" srcId="{163464BF-BD6D-41EA-887E-9CA33F524B67}" destId="{30CC8F9D-93EE-4AB7-A970-C1256659CD9E}" srcOrd="5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575" cy="496888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451" y="0"/>
            <a:ext cx="2949575" cy="496888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r">
              <a:defRPr sz="1200"/>
            </a:lvl1pPr>
          </a:lstStyle>
          <a:p>
            <a:fld id="{99A4CBA3-97AD-4DC8-A7C5-5C314BBC2035}" type="datetimeFigureOut">
              <a:rPr lang="ru-RU" smtClean="0"/>
              <a:pPr/>
              <a:t>08.12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305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6" rIns="91431" bIns="4571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039" y="4721225"/>
            <a:ext cx="5443537" cy="4471988"/>
          </a:xfrm>
          <a:prstGeom prst="rect">
            <a:avLst/>
          </a:prstGeom>
        </p:spPr>
        <p:txBody>
          <a:bodyPr vert="horz" lIns="91431" tIns="45716" rIns="91431" bIns="45716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0863"/>
            <a:ext cx="2949575" cy="496887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451" y="9440863"/>
            <a:ext cx="2949575" cy="496887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r">
              <a:defRPr sz="1200"/>
            </a:lvl1pPr>
          </a:lstStyle>
          <a:p>
            <a:fld id="{C7CF1344-B7CF-4872-AD8C-D5F1A09ACD1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0320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3050" cy="37258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41527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8900" y="744538"/>
            <a:ext cx="6627813" cy="37290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148161-D062-41DE-B86E-B7A939E0328A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1450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8900" y="744538"/>
            <a:ext cx="6627813" cy="37290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148161-D062-41DE-B86E-B7A939E0328A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14500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3050" cy="37258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46C6AD-0A54-4551-A9D7-34D71D094F2E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6798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8900" y="744538"/>
            <a:ext cx="6627813" cy="37290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148161-D062-41DE-B86E-B7A939E0328A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14500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8900" y="744538"/>
            <a:ext cx="6627813" cy="37290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148161-D062-41DE-B86E-B7A939E0328A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14500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8900" y="744538"/>
            <a:ext cx="6627813" cy="37290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148161-D062-41DE-B86E-B7A939E0328A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0853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8900" y="744538"/>
            <a:ext cx="6627813" cy="37290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148161-D062-41DE-B86E-B7A939E0328A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0853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24637" cy="3727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FB996D-954F-4038-9EFE-E753EF3C055F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99705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8900" y="744538"/>
            <a:ext cx="6627813" cy="37290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148161-D062-41DE-B86E-B7A939E0328A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1450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9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A065A2-BEAD-4DA6-A122-6F349D00D15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C38D97-6956-4A65-9056-B16F7301778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0485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D94D5A-6C40-49B6-BFB6-51AB37A0F5C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A2DBB3-7D19-4089-B338-39FBCF5CBE4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4668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C15A58-F07E-4EAC-A097-B052DF97DCA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CADC6A-853C-43FD-9E44-29124C0E38D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45767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30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F221B5-647E-4A3B-A3C9-1FA811E5E62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1C822C-A52E-48E9-8238-EFDF0B2F8D7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08247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C9ADFD-3AE8-486A-A690-91270AA41A3B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29566B-06CB-4644-B734-D31650A4815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24305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40ECA4-41B1-4E14-8E51-8CBD2E00DD57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93A9D2-9F8D-4B16-B40D-B2C3336BBA9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6450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9D5D22-502C-4FCB-A2B7-D9178F25C3F0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262646-29BC-4DC1-9FCF-8CBBBAD1EDF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382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A68CA2-C172-4293-A720-7E55C3591330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2E611F-654C-4D54-9321-3A86E9CE04B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9109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F368C2-60F7-40BD-9B17-B7D0A5237E05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332C1A-0259-435B-A890-27B78947391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299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1D0029-A094-4284-AE42-EFB117F6F40B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8AE941-36B2-4476-8A27-B710FA65B40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2128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19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0479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9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29330C-6DE0-4D82-9F09-12896B120278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B27479-2872-42FA-946D-ED7241E10D2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18821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D89510-8D1C-4E4B-BC56-E4BBFE2B572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6B1364-6EBD-4954-A5BB-66027140EDB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02389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1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D0C407-35D9-4C19-9A0B-4457C1F07DDD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8C1AF5-05CD-436A-A029-EABCB4AA6D9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5625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B0E08B-07A1-4E12-8768-F1E0ECF9F169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6DEEFD-42EC-4BE4-99E7-28F1EECBD32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6840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6D1FD2-6B18-4980-A9DE-FFA231A024E1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98D4E4-504C-4B18-B258-6DD3C59A679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13686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8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F221B5-647E-4A3B-A3C9-1FA811E5E62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1C822C-A52E-48E9-8238-EFDF0B2F8D7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93494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C9ADFD-3AE8-486A-A690-91270AA41A3B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29566B-06CB-4644-B734-D31650A4815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6771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9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40ECA4-41B1-4E14-8E51-8CBD2E00DD57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93A9D2-9F8D-4B16-B40D-B2C3336BBA9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12471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00154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00154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9D5D22-502C-4FCB-A2B7-D9178F25C3F0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262646-29BC-4DC1-9FCF-8CBBBAD1EDF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02005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A68CA2-C172-4293-A720-7E55C3591330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2E611F-654C-4D54-9321-3A86E9CE04B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9424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F368C2-60F7-40BD-9B17-B7D0A5237E05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332C1A-0259-435B-A890-27B78947391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1609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1D0029-A094-4284-AE42-EFB117F6F40B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8AE941-36B2-4476-8A27-B710FA65B40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0401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829E0F-DDC5-4EE4-8188-B4BC968A25D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F5C6FA-6E36-4D84-9814-F72315F4C46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592664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1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04797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3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29330C-6DE0-4D82-9F09-12896B120278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B27479-2872-42FA-946D-ED7241E10D2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1043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9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D0C407-35D9-4C19-9A0B-4457C1F07DDD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8C1AF5-05CD-436A-A029-EABCB4AA6D9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85405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B0E08B-07A1-4E12-8768-F1E0ECF9F169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6DEEFD-42EC-4BE4-99E7-28F1EECBD32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3671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83"/>
            <a:ext cx="2057400" cy="4388644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83"/>
            <a:ext cx="6019800" cy="438864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6D1FD2-6B18-4980-A9DE-FFA231A024E1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98D4E4-504C-4B18-B258-6DD3C59A679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062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15586B-B0B9-4BC0-94F2-CF011E8AACA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1B5074-803A-49EA-ADE5-71B8DD57082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0621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EB90B6-71DB-4366-9D8A-37E96692252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0B3F82-F460-4DDD-BFE5-72305870F46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36961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4B2A66-16B4-4489-8438-1D9DE82D5BC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8EAE47-4F53-4C7B-8DF9-21C3D264224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8080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6D5D89-2010-4D7A-8F71-4159104CCF7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7113A9-26D7-4FF1-A547-D41CBD61C42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73253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19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0479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9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E5A62E-977F-4C28-9EB2-C39CA8A027E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23EC8C-B4C9-46CF-961D-A5E780A5C90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2375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1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9DD9F2-E365-4E2C-B744-1171D8BAEB8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DCDF38-3182-4C7A-B211-141A81CFA6D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49539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20016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7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8A9F2DD-E408-424C-847A-8098D1F8D93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7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7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C93FB04-9604-494F-8099-055C5A0F37D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783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05978"/>
            <a:ext cx="8229600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200151"/>
            <a:ext cx="8229600" cy="339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D757FBE-5700-48A2-99D5-AC5DD5C1D293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6AC6206-CE57-422B-831E-14CF1E2D7D7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50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05979"/>
            <a:ext cx="8229600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200154"/>
            <a:ext cx="8229600" cy="339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D757FBE-5700-48A2-99D5-AC5DD5C1D293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8.1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6AC6206-CE57-422B-831E-14CF1E2D7D7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1718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4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image" Target="../media/image17.jpeg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image" Target="../media/image15.emf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slideLayout" Target="../slideLayouts/slideLayout24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oleObject" Target="../embeddings/oleObject1.bin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image" Target="../media/image16.jpeg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notesSlide" Target="../notesSlides/notesSlide8.xml"/><Relationship Id="rId35" Type="http://schemas.openxmlformats.org/officeDocument/2006/relationships/image" Target="../media/image18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Заголовок 4"/>
          <p:cNvSpPr>
            <a:spLocks noGrp="1"/>
          </p:cNvSpPr>
          <p:nvPr>
            <p:ph type="ctrTitle"/>
          </p:nvPr>
        </p:nvSpPr>
        <p:spPr>
          <a:xfrm>
            <a:off x="736384" y="3715284"/>
            <a:ext cx="6377906" cy="465138"/>
          </a:xfrm>
        </p:spPr>
        <p:txBody>
          <a:bodyPr/>
          <a:lstStyle/>
          <a:p>
            <a:pPr algn="l"/>
            <a:r>
              <a:rPr lang="ru-RU" sz="1400" dirty="0" smtClean="0"/>
              <a:t>01 декабря </a:t>
            </a:r>
            <a:r>
              <a:rPr lang="ru-RU" sz="1400" dirty="0"/>
              <a:t>2016г.</a:t>
            </a:r>
            <a:br>
              <a:rPr lang="ru-RU" sz="1400" dirty="0"/>
            </a:br>
            <a:r>
              <a:rPr lang="ru-RU" sz="1400" dirty="0"/>
              <a:t>Нагишев Андрей Николаевич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11560" y="2820883"/>
            <a:ext cx="536067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2000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Справочно-аналитический материал к «Дню Северной железной дороги»</a:t>
            </a:r>
            <a:endParaRPr lang="ru-RU" sz="2000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19020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46"/>
          <p:cNvSpPr txBox="1"/>
          <p:nvPr/>
        </p:nvSpPr>
        <p:spPr>
          <a:xfrm>
            <a:off x="1" y="1"/>
            <a:ext cx="91440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1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9</a:t>
            </a:r>
            <a:endParaRPr lang="ru-RU" sz="11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286000" y="1971586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ПАСИБО ЗА ВНИМАНИЕ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1836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46"/>
          <p:cNvSpPr txBox="1"/>
          <p:nvPr/>
        </p:nvSpPr>
        <p:spPr>
          <a:xfrm>
            <a:off x="13" y="203505"/>
            <a:ext cx="91439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Организация железнодорожного сообщения с республикой Коми       </a:t>
            </a:r>
            <a:r>
              <a:rPr lang="ru-RU" sz="11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endParaRPr lang="ru-RU" sz="11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7891" name="Picture 3"/>
          <p:cNvPicPr>
            <a:picLocks noChangeAspect="1" noChangeArrowheads="1"/>
          </p:cNvPicPr>
          <p:nvPr/>
        </p:nvPicPr>
        <p:blipFill>
          <a:blip r:embed="rId3" cstate="print">
            <a:grayscl/>
          </a:blip>
          <a:srcRect b="1933"/>
          <a:stretch>
            <a:fillRect/>
          </a:stretch>
        </p:blipFill>
        <p:spPr bwMode="auto">
          <a:xfrm>
            <a:off x="628650" y="1304936"/>
            <a:ext cx="6515100" cy="3543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4" name="Прямая со стрелкой 33"/>
          <p:cNvCxnSpPr/>
          <p:nvPr/>
        </p:nvCxnSpPr>
        <p:spPr>
          <a:xfrm>
            <a:off x="6753225" y="3438525"/>
            <a:ext cx="342900" cy="266700"/>
          </a:xfrm>
          <a:prstGeom prst="straightConnector1">
            <a:avLst/>
          </a:prstGeom>
          <a:ln w="28575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6631475" y="3733800"/>
            <a:ext cx="17314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prstClr val="black"/>
                </a:solidFill>
                <a:latin typeface="RussianRail G Pro" pitchFamily="34" charset="-52"/>
              </a:rPr>
              <a:t>На </a:t>
            </a:r>
            <a:r>
              <a:rPr lang="ru-RU" sz="1100" b="1" dirty="0" err="1" smtClean="0">
                <a:solidFill>
                  <a:prstClr val="black"/>
                </a:solidFill>
                <a:latin typeface="RussianRail G Pro" pitchFamily="34" charset="-52"/>
              </a:rPr>
              <a:t>Лабытнанги</a:t>
            </a:r>
            <a:endParaRPr lang="ru-RU" sz="1100" b="1" dirty="0">
              <a:solidFill>
                <a:prstClr val="black"/>
              </a:solidFill>
              <a:latin typeface="RussianRail G Pro" pitchFamily="34" charset="-52"/>
            </a:endParaRPr>
          </a:p>
        </p:txBody>
      </p:sp>
      <p:cxnSp>
        <p:nvCxnSpPr>
          <p:cNvPr id="38" name="Прямая со стрелкой 37"/>
          <p:cNvCxnSpPr/>
          <p:nvPr/>
        </p:nvCxnSpPr>
        <p:spPr>
          <a:xfrm flipH="1" flipV="1">
            <a:off x="1219200" y="3314700"/>
            <a:ext cx="485776" cy="95250"/>
          </a:xfrm>
          <a:prstGeom prst="straightConnector1">
            <a:avLst/>
          </a:prstGeom>
          <a:ln w="28575">
            <a:solidFill>
              <a:schemeClr val="tx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0" y="2924176"/>
            <a:ext cx="17621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prstClr val="black"/>
                </a:solidFill>
                <a:latin typeface="RussianRail G Pro" pitchFamily="34" charset="-52"/>
              </a:rPr>
              <a:t>На Москву, С.Петербург, Новороссийск, Адлер</a:t>
            </a:r>
            <a:endParaRPr lang="ru-RU" sz="1000" b="1" dirty="0">
              <a:solidFill>
                <a:prstClr val="black"/>
              </a:solidFill>
              <a:latin typeface="RussianRail G Pro" pitchFamily="34" charset="-52"/>
            </a:endParaRPr>
          </a:p>
        </p:txBody>
      </p:sp>
      <p:sp>
        <p:nvSpPr>
          <p:cNvPr id="41" name="Овал 40"/>
          <p:cNvSpPr/>
          <p:nvPr/>
        </p:nvSpPr>
        <p:spPr>
          <a:xfrm>
            <a:off x="1838341" y="3905250"/>
            <a:ext cx="104775" cy="1143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552450" y="3943352"/>
            <a:ext cx="1209676" cy="161925"/>
          </a:xfrm>
          <a:prstGeom prst="roundRect">
            <a:avLst/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ysClr val="windowText" lastClr="000000"/>
                </a:solidFill>
                <a:latin typeface="RussianRail G Pro" pitchFamily="34" charset="-52"/>
              </a:rPr>
              <a:t>Сыктывкар</a:t>
            </a:r>
            <a:endParaRPr lang="ru-RU" sz="1000" b="1" dirty="0">
              <a:solidFill>
                <a:sysClr val="windowText" lastClr="000000"/>
              </a:solidFill>
              <a:latin typeface="RussianRail G Pro" pitchFamily="34" charset="-52"/>
            </a:endParaRPr>
          </a:p>
        </p:txBody>
      </p:sp>
      <p:sp>
        <p:nvSpPr>
          <p:cNvPr id="45" name="Овал 44"/>
          <p:cNvSpPr/>
          <p:nvPr/>
        </p:nvSpPr>
        <p:spPr>
          <a:xfrm>
            <a:off x="6591309" y="2943225"/>
            <a:ext cx="104775" cy="1143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6838950" y="2971802"/>
            <a:ext cx="1209676" cy="161925"/>
          </a:xfrm>
          <a:prstGeom prst="roundRect">
            <a:avLst/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ysClr val="windowText" lastClr="000000"/>
                </a:solidFill>
                <a:latin typeface="RussianRail G Pro" pitchFamily="34" charset="-52"/>
              </a:rPr>
              <a:t>Воркута</a:t>
            </a:r>
            <a:endParaRPr lang="ru-RU" sz="1000" b="1" dirty="0">
              <a:solidFill>
                <a:sysClr val="windowText" lastClr="000000"/>
              </a:solidFill>
              <a:latin typeface="RussianRail G Pro" pitchFamily="34" charset="-52"/>
            </a:endParaRPr>
          </a:p>
        </p:txBody>
      </p:sp>
      <p:sp>
        <p:nvSpPr>
          <p:cNvPr id="48" name="Овал 47"/>
          <p:cNvSpPr/>
          <p:nvPr/>
        </p:nvSpPr>
        <p:spPr>
          <a:xfrm>
            <a:off x="2028842" y="3228975"/>
            <a:ext cx="104775" cy="1143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2209805" y="3171825"/>
            <a:ext cx="904875" cy="152400"/>
          </a:xfrm>
          <a:prstGeom prst="roundRect">
            <a:avLst/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ysClr val="windowText" lastClr="000000"/>
                </a:solidFill>
                <a:latin typeface="RussianRail G Pro" pitchFamily="34" charset="-52"/>
              </a:rPr>
              <a:t>Микунь</a:t>
            </a:r>
            <a:endParaRPr lang="ru-RU" sz="1000" b="1" dirty="0">
              <a:solidFill>
                <a:sysClr val="windowText" lastClr="000000"/>
              </a:solidFill>
              <a:latin typeface="RussianRail G Pro" pitchFamily="34" charset="-52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543175" y="2447935"/>
            <a:ext cx="2514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prstClr val="black"/>
                </a:solidFill>
                <a:latin typeface="RussianRail G Pro" pitchFamily="34" charset="-52"/>
              </a:rPr>
              <a:t>Республика Коми</a:t>
            </a:r>
            <a:endParaRPr lang="ru-RU" sz="1200" b="1" dirty="0">
              <a:solidFill>
                <a:prstClr val="black"/>
              </a:solidFill>
              <a:latin typeface="RussianRail G Pro" pitchFamily="34" charset="-52"/>
            </a:endParaRPr>
          </a:p>
        </p:txBody>
      </p:sp>
      <p:sp>
        <p:nvSpPr>
          <p:cNvPr id="51" name="Овал 50"/>
          <p:cNvSpPr/>
          <p:nvPr/>
        </p:nvSpPr>
        <p:spPr>
          <a:xfrm>
            <a:off x="4867278" y="2819400"/>
            <a:ext cx="104775" cy="1143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52" name="Скругленный прямоугольник 51"/>
          <p:cNvSpPr/>
          <p:nvPr/>
        </p:nvSpPr>
        <p:spPr>
          <a:xfrm>
            <a:off x="5086359" y="2771778"/>
            <a:ext cx="828675" cy="152399"/>
          </a:xfrm>
          <a:prstGeom prst="roundRect">
            <a:avLst/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ysClr val="windowText" lastClr="000000"/>
                </a:solidFill>
                <a:latin typeface="RussianRail G Pro" pitchFamily="34" charset="-52"/>
              </a:rPr>
              <a:t>Усинск</a:t>
            </a:r>
            <a:endParaRPr lang="ru-RU" sz="1000" b="1" dirty="0">
              <a:solidFill>
                <a:sysClr val="windowText" lastClr="000000"/>
              </a:solidFill>
              <a:latin typeface="RussianRail G Pro" pitchFamily="34" charset="-52"/>
            </a:endParaRPr>
          </a:p>
        </p:txBody>
      </p:sp>
      <p:sp>
        <p:nvSpPr>
          <p:cNvPr id="53" name="Овал 52"/>
          <p:cNvSpPr/>
          <p:nvPr/>
        </p:nvSpPr>
        <p:spPr>
          <a:xfrm>
            <a:off x="3190895" y="3514725"/>
            <a:ext cx="104775" cy="1143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3362325" y="3600461"/>
            <a:ext cx="1143000" cy="171449"/>
          </a:xfrm>
          <a:prstGeom prst="roundRect">
            <a:avLst/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ysClr val="windowText" lastClr="000000"/>
                </a:solidFill>
                <a:latin typeface="RussianRail G Pro" pitchFamily="34" charset="-52"/>
              </a:rPr>
              <a:t>Сосногорск</a:t>
            </a:r>
            <a:endParaRPr lang="ru-RU" sz="1000" b="1" dirty="0">
              <a:solidFill>
                <a:sysClr val="windowText" lastClr="000000"/>
              </a:solidFill>
              <a:latin typeface="RussianRail G Pro" pitchFamily="34" charset="-52"/>
            </a:endParaRPr>
          </a:p>
        </p:txBody>
      </p:sp>
      <p:sp>
        <p:nvSpPr>
          <p:cNvPr id="55" name="Овал 54"/>
          <p:cNvSpPr/>
          <p:nvPr/>
        </p:nvSpPr>
        <p:spPr>
          <a:xfrm>
            <a:off x="4572020" y="3219450"/>
            <a:ext cx="104775" cy="1143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3657606" y="3067061"/>
            <a:ext cx="828675" cy="152399"/>
          </a:xfrm>
          <a:prstGeom prst="roundRect">
            <a:avLst/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ysClr val="windowText" lastClr="000000"/>
                </a:solidFill>
                <a:latin typeface="RussianRail G Pro" pitchFamily="34" charset="-52"/>
              </a:rPr>
              <a:t>Печора</a:t>
            </a:r>
            <a:endParaRPr lang="ru-RU" sz="1000" b="1" dirty="0">
              <a:solidFill>
                <a:sysClr val="windowText" lastClr="000000"/>
              </a:solidFill>
              <a:latin typeface="RussianRail G Pro" pitchFamily="34" charset="-52"/>
            </a:endParaRPr>
          </a:p>
        </p:txBody>
      </p:sp>
      <p:sp>
        <p:nvSpPr>
          <p:cNvPr id="57" name="Овал 56"/>
          <p:cNvSpPr/>
          <p:nvPr/>
        </p:nvSpPr>
        <p:spPr>
          <a:xfrm>
            <a:off x="2190770" y="2476500"/>
            <a:ext cx="104775" cy="1143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58" name="Скругленный прямоугольник 57"/>
          <p:cNvSpPr/>
          <p:nvPr/>
        </p:nvSpPr>
        <p:spPr>
          <a:xfrm>
            <a:off x="1219203" y="2447925"/>
            <a:ext cx="904875" cy="152400"/>
          </a:xfrm>
          <a:prstGeom prst="roundRect">
            <a:avLst/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ysClr val="windowText" lastClr="000000"/>
                </a:solidFill>
                <a:latin typeface="RussianRail G Pro" pitchFamily="34" charset="-52"/>
              </a:rPr>
              <a:t>Кослан</a:t>
            </a:r>
            <a:endParaRPr lang="ru-RU" sz="1000" b="1" dirty="0">
              <a:solidFill>
                <a:sysClr val="windowText" lastClr="000000"/>
              </a:solidFill>
              <a:latin typeface="RussianRail G Pro" pitchFamily="34" charset="-52"/>
            </a:endParaRPr>
          </a:p>
        </p:txBody>
      </p:sp>
      <p:cxnSp>
        <p:nvCxnSpPr>
          <p:cNvPr id="59" name="Прямая соединительная линия 3"/>
          <p:cNvCxnSpPr/>
          <p:nvPr/>
        </p:nvCxnSpPr>
        <p:spPr>
          <a:xfrm flipV="1">
            <a:off x="4705367" y="1026502"/>
            <a:ext cx="428478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Прямоугольник 27"/>
          <p:cNvSpPr/>
          <p:nvPr/>
        </p:nvSpPr>
        <p:spPr>
          <a:xfrm>
            <a:off x="4591051" y="686043"/>
            <a:ext cx="4552950" cy="2846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500"/>
              </a:lnSpc>
            </a:pPr>
            <a:r>
              <a:rPr lang="ru-RU" sz="1400" b="1" dirty="0" smtClean="0">
                <a:solidFill>
                  <a:prstClr val="black"/>
                </a:solidFill>
                <a:latin typeface="RussianRail G Pro" pitchFamily="34" charset="-52"/>
                <a:ea typeface="Verdana" panose="020B0604030504040204" pitchFamily="34" charset="0"/>
                <a:cs typeface="Verdana" panose="020B0604030504040204" pitchFamily="34" charset="0"/>
              </a:rPr>
              <a:t>Размеры движения по республике Коми</a:t>
            </a:r>
            <a:endParaRPr lang="ru-RU" sz="1400" b="1" dirty="0">
              <a:solidFill>
                <a:prstClr val="black"/>
              </a:solidFill>
              <a:latin typeface="RussianRail G Pro" pitchFamily="34" charset="-52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4800604" y="1073983"/>
            <a:ext cx="4181475" cy="892552"/>
          </a:xfrm>
          <a:prstGeom prst="rect">
            <a:avLst/>
          </a:prstGeom>
          <a:solidFill>
            <a:srgbClr val="D9D9D9">
              <a:alpha val="25098"/>
            </a:srgbClr>
          </a:solidFill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E21A1A"/>
                </a:solidFill>
                <a:latin typeface="RussianRail G Pro" pitchFamily="34" charset="-52"/>
              </a:rPr>
              <a:t>20 </a:t>
            </a:r>
            <a:r>
              <a:rPr lang="ru-RU" sz="1400" b="1" dirty="0" smtClean="0">
                <a:solidFill>
                  <a:prstClr val="black"/>
                </a:solidFill>
                <a:latin typeface="RussianRail G Pro" pitchFamily="34" charset="-52"/>
              </a:rPr>
              <a:t>-</a:t>
            </a:r>
            <a:r>
              <a:rPr lang="ru-RU" sz="1400" b="1" dirty="0" smtClean="0">
                <a:solidFill>
                  <a:srgbClr val="E21A1A"/>
                </a:solidFill>
                <a:latin typeface="RussianRail G Pro" pitchFamily="34" charset="-52"/>
              </a:rPr>
              <a:t>  </a:t>
            </a:r>
            <a:r>
              <a:rPr lang="ru-RU" sz="1200" dirty="0" smtClean="0">
                <a:solidFill>
                  <a:prstClr val="black"/>
                </a:solidFill>
                <a:latin typeface="RussianRail G Pro" pitchFamily="34" charset="-52"/>
              </a:rPr>
              <a:t>поездов дальнего следования </a:t>
            </a:r>
          </a:p>
          <a:p>
            <a:pPr algn="ctr">
              <a:spcAft>
                <a:spcPts val="0"/>
              </a:spcAft>
              <a:defRPr/>
            </a:pPr>
            <a:r>
              <a:rPr lang="ru-RU" sz="1200" dirty="0" smtClean="0">
                <a:solidFill>
                  <a:prstClr val="black"/>
                </a:solidFill>
                <a:latin typeface="RussianRail G Pro" pitchFamily="34" charset="-52"/>
              </a:rPr>
              <a:t>из них:</a:t>
            </a:r>
          </a:p>
          <a:p>
            <a:pPr algn="ctr"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E21A1A"/>
                </a:solidFill>
                <a:latin typeface="RussianRail G Pro" pitchFamily="34" charset="-52"/>
              </a:rPr>
              <a:t>14 </a:t>
            </a:r>
            <a:r>
              <a:rPr lang="ru-RU" sz="1200" dirty="0" smtClean="0">
                <a:solidFill>
                  <a:prstClr val="black"/>
                </a:solidFill>
                <a:latin typeface="RussianRail G Pro" pitchFamily="34" charset="-52"/>
              </a:rPr>
              <a:t>круглогодичных</a:t>
            </a:r>
          </a:p>
          <a:p>
            <a:pPr algn="ctr"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E21A1A"/>
                </a:solidFill>
                <a:latin typeface="RussianRail G Pro" pitchFamily="34" charset="-52"/>
              </a:rPr>
              <a:t>6</a:t>
            </a:r>
            <a:r>
              <a:rPr lang="ru-RU" sz="1200" dirty="0" smtClean="0">
                <a:solidFill>
                  <a:prstClr val="black"/>
                </a:solidFill>
                <a:latin typeface="RussianRail G Pro" pitchFamily="34" charset="-52"/>
              </a:rPr>
              <a:t> сезонных</a:t>
            </a:r>
          </a:p>
        </p:txBody>
      </p:sp>
      <p:sp>
        <p:nvSpPr>
          <p:cNvPr id="66" name="Прямоугольник 27"/>
          <p:cNvSpPr/>
          <p:nvPr/>
        </p:nvSpPr>
        <p:spPr>
          <a:xfrm>
            <a:off x="495301" y="4162425"/>
            <a:ext cx="1323974" cy="57150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anchor="ctr" anchorCtr="1">
            <a:noAutofit/>
          </a:bodyPr>
          <a:lstStyle/>
          <a:p>
            <a:pPr algn="ctr">
              <a:lnSpc>
                <a:spcPts val="1500"/>
              </a:lnSpc>
            </a:pPr>
            <a:r>
              <a:rPr lang="ru-RU" sz="800" b="1" dirty="0" smtClean="0">
                <a:solidFill>
                  <a:srgbClr val="FFFFFF"/>
                </a:solidFill>
                <a:latin typeface="RussianRail G Pro" pitchFamily="34" charset="-52"/>
                <a:ea typeface="Verdana" panose="020B0604030504040204" pitchFamily="34" charset="0"/>
                <a:cs typeface="Verdana" panose="020B0604030504040204" pitchFamily="34" charset="0"/>
              </a:rPr>
              <a:t>ВЧ-7 (Сыктывкар)</a:t>
            </a:r>
          </a:p>
          <a:p>
            <a:pPr algn="ctr">
              <a:lnSpc>
                <a:spcPts val="1500"/>
              </a:lnSpc>
            </a:pPr>
            <a:r>
              <a:rPr lang="ru-RU" sz="800" dirty="0" smtClean="0">
                <a:solidFill>
                  <a:srgbClr val="FFFFFF"/>
                </a:solidFill>
                <a:latin typeface="RussianRail G Pro" pitchFamily="34" charset="-52"/>
                <a:ea typeface="Verdana" panose="020B0604030504040204" pitchFamily="34" charset="0"/>
                <a:cs typeface="Verdana" panose="020B0604030504040204" pitchFamily="34" charset="0"/>
              </a:rPr>
              <a:t>инвентарный парк – 215 вагонов</a:t>
            </a:r>
            <a:endParaRPr lang="ru-RU" sz="800" dirty="0">
              <a:solidFill>
                <a:srgbClr val="FFFFFF"/>
              </a:solidFill>
              <a:latin typeface="RussianRail G Pro" pitchFamily="34" charset="-52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633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Box 6"/>
          <p:cNvSpPr txBox="1">
            <a:spLocks noChangeArrowheads="1"/>
          </p:cNvSpPr>
          <p:nvPr/>
        </p:nvSpPr>
        <p:spPr bwMode="auto">
          <a:xfrm>
            <a:off x="7019925" y="303612"/>
            <a:ext cx="17843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prstClr val="black"/>
                </a:solidFill>
                <a:latin typeface="Verdana" pitchFamily="34" charset="0"/>
                <a:cs typeface="Arial" charset="0"/>
              </a:rPr>
              <a:t>2</a:t>
            </a:r>
          </a:p>
        </p:txBody>
      </p:sp>
      <p:sp>
        <p:nvSpPr>
          <p:cNvPr id="3075" name="Заголовок 7"/>
          <p:cNvSpPr>
            <a:spLocks noGrp="1"/>
          </p:cNvSpPr>
          <p:nvPr>
            <p:ph type="ctrTitle"/>
          </p:nvPr>
        </p:nvSpPr>
        <p:spPr>
          <a:xfrm>
            <a:off x="107504" y="117636"/>
            <a:ext cx="8820150" cy="432197"/>
          </a:xfrm>
        </p:spPr>
        <p:txBody>
          <a:bodyPr/>
          <a:lstStyle/>
          <a:p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ъем перевозок по территории Республики Коми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59478" y="3219822"/>
            <a:ext cx="3231133" cy="156966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20000"/>
                  <a:lumOff val="80000"/>
                  <a:alpha val="4600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rgbClr val="00B050"/>
                </a:solidFill>
                <a:cs typeface="Arial" charset="0"/>
              </a:rPr>
              <a:t>25%</a:t>
            </a:r>
            <a:r>
              <a:rPr lang="ru-RU" sz="1600" b="1" dirty="0" smtClean="0">
                <a:solidFill>
                  <a:prstClr val="black"/>
                </a:solidFill>
                <a:cs typeface="Arial" charset="0"/>
              </a:rPr>
              <a:t> объемов перевозок дороги приходится на Республику Коми.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prstClr val="black"/>
                </a:solidFill>
                <a:cs typeface="Arial" charset="0"/>
              </a:rPr>
              <a:t>Наиболее популярные направления </a:t>
            </a:r>
            <a:r>
              <a:rPr lang="ru-RU" sz="1600" b="1" dirty="0" smtClean="0">
                <a:solidFill>
                  <a:prstClr val="black"/>
                </a:solidFill>
                <a:latin typeface="Calibri" pitchFamily="34" charset="0"/>
                <a:cs typeface="Arial" charset="0"/>
              </a:rPr>
              <a:t>внутри Северной, на Московскую </a:t>
            </a:r>
            <a:r>
              <a:rPr lang="ru-RU" sz="1600" b="1" dirty="0">
                <a:solidFill>
                  <a:prstClr val="black"/>
                </a:solidFill>
                <a:latin typeface="Calibri" pitchFamily="34" charset="0"/>
                <a:cs typeface="Arial" charset="0"/>
              </a:rPr>
              <a:t>и </a:t>
            </a:r>
            <a:r>
              <a:rPr lang="ru-RU" sz="1600" b="1" dirty="0" smtClean="0">
                <a:solidFill>
                  <a:prstClr val="black"/>
                </a:solidFill>
                <a:latin typeface="Calibri" pitchFamily="34" charset="0"/>
                <a:cs typeface="Arial" charset="0"/>
              </a:rPr>
              <a:t>Горьковскую </a:t>
            </a:r>
            <a:r>
              <a:rPr lang="ru-RU" sz="1600" b="1" dirty="0">
                <a:solidFill>
                  <a:prstClr val="black"/>
                </a:solidFill>
                <a:latin typeface="Calibri" pitchFamily="34" charset="0"/>
                <a:cs typeface="Arial" charset="0"/>
              </a:rPr>
              <a:t>ж.д.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b="1" dirty="0" smtClean="0">
              <a:solidFill>
                <a:prstClr val="black"/>
              </a:solidFill>
              <a:cs typeface="Arial" charset="0"/>
            </a:endParaRPr>
          </a:p>
        </p:txBody>
      </p:sp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9" y="2621366"/>
            <a:ext cx="4975775" cy="1993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1619" y="737850"/>
            <a:ext cx="4404735" cy="1935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572" y="737850"/>
            <a:ext cx="4348046" cy="1941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14545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46"/>
          <p:cNvSpPr txBox="1"/>
          <p:nvPr/>
        </p:nvSpPr>
        <p:spPr>
          <a:xfrm>
            <a:off x="1" y="1"/>
            <a:ext cx="91440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рафик обновления подвижного  состава поездов, </a:t>
            </a:r>
            <a:endParaRPr lang="ru-RU" sz="16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ru-RU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ледующих </a:t>
            </a:r>
            <a:r>
              <a:rPr lang="ru-RU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 </a:t>
            </a:r>
            <a:r>
              <a:rPr lang="ru-RU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рритории  </a:t>
            </a:r>
            <a:r>
              <a:rPr lang="ru-RU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спублики  Коми</a:t>
            </a:r>
            <a:r>
              <a:rPr lang="ru-RU" sz="16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                             </a:t>
            </a: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1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  <a:endParaRPr lang="ru-RU" sz="11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6207358"/>
              </p:ext>
            </p:extLst>
          </p:nvPr>
        </p:nvGraphicFramePr>
        <p:xfrm>
          <a:off x="107504" y="699542"/>
          <a:ext cx="8928992" cy="4104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2110"/>
                <a:gridCol w="1221689"/>
                <a:gridCol w="1402073"/>
                <a:gridCol w="664140"/>
                <a:gridCol w="885520"/>
                <a:gridCol w="664140"/>
                <a:gridCol w="811726"/>
                <a:gridCol w="1295484"/>
                <a:gridCol w="992110"/>
              </a:tblGrid>
              <a:tr h="505048"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№ поезда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Сообщение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Мероприятие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Тип вагона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Год постройки, КВР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Кол-во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Срок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Подвижной состав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Выполнено</a:t>
                      </a:r>
                    </a:p>
                    <a:p>
                      <a:pPr algn="ctr"/>
                      <a:r>
                        <a:rPr lang="ru-RU" sz="800" dirty="0" smtClean="0"/>
                        <a:t>/не выполнено</a:t>
                      </a:r>
                      <a:endParaRPr lang="ru-RU" sz="800" dirty="0"/>
                    </a:p>
                  </a:txBody>
                  <a:tcPr marT="34290" marB="34290" anchor="ctr"/>
                </a:tc>
              </a:tr>
              <a:tr h="362598">
                <a:tc rowSpan="4"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309/310</a:t>
                      </a:r>
                      <a:endParaRPr lang="ru-RU" sz="800" dirty="0"/>
                    </a:p>
                  </a:txBody>
                  <a:tcPr marT="34290" marB="34290" anchor="ctr"/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Адлер - Воркута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Замена на вагон с  УКВ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куп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1992-94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4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Октябрь 2016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передислокация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+</a:t>
                      </a:r>
                      <a:endParaRPr lang="ru-RU" sz="800" dirty="0"/>
                    </a:p>
                  </a:txBody>
                  <a:tcPr marT="34290" marB="34290" anchor="ctr"/>
                </a:tc>
              </a:tr>
              <a:tr h="362598">
                <a:tc vMerge="1"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Обновление на  вагон  с  УКВ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err="1" smtClean="0"/>
                        <a:t>пл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2016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4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/>
                        <a:t>Октябрь 2016</a:t>
                      </a: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/>
                        <a:t>из КВР</a:t>
                      </a: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+</a:t>
                      </a:r>
                      <a:endParaRPr lang="ru-RU" sz="800" dirty="0"/>
                    </a:p>
                  </a:txBody>
                  <a:tcPr marT="34290" marB="34290" anchor="ctr"/>
                </a:tc>
              </a:tr>
              <a:tr h="362598">
                <a:tc vMerge="1"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/>
                        <a:t>Обновление на  вагон  с  УКВ</a:t>
                      </a: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err="1" smtClean="0"/>
                        <a:t>пл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2016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4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Ноябрь 2016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smtClean="0"/>
                        <a:t>из КВР</a:t>
                      </a:r>
                      <a:endParaRPr lang="ru-RU" sz="800" dirty="0" smtClean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+</a:t>
                      </a:r>
                      <a:endParaRPr lang="ru-RU" sz="800" dirty="0"/>
                    </a:p>
                  </a:txBody>
                  <a:tcPr marT="34290" marB="34290" anchor="ctr"/>
                </a:tc>
              </a:tr>
              <a:tr h="362598">
                <a:tc vMerge="1"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/>
                        <a:t>Обновление на  вагон  с  УКВ</a:t>
                      </a: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err="1" smtClean="0"/>
                        <a:t>пл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2016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4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1" dirty="0" smtClean="0"/>
                        <a:t>Декабрь 2016</a:t>
                      </a: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/>
                        <a:t>из КВР</a:t>
                      </a: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-</a:t>
                      </a:r>
                      <a:endParaRPr lang="ru-RU" sz="800" dirty="0"/>
                    </a:p>
                  </a:txBody>
                  <a:tcPr marT="34290" marB="34290" anchor="ctr"/>
                </a:tc>
              </a:tr>
              <a:tr h="429804">
                <a:tc rowSpan="2"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311/312</a:t>
                      </a:r>
                      <a:endParaRPr lang="ru-RU" sz="800" dirty="0"/>
                    </a:p>
                  </a:txBody>
                  <a:tcPr marT="34290" marB="3429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Новороссийск</a:t>
                      </a:r>
                      <a:r>
                        <a:rPr lang="ru-RU" sz="800" baseline="0" dirty="0" smtClean="0"/>
                        <a:t> - Воркута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/>
                        <a:t>Замена на вагон с  УКВ</a:t>
                      </a: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куп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1992-94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32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i="1" dirty="0" smtClean="0"/>
                        <a:t>Май </a:t>
                      </a:r>
                    </a:p>
                    <a:p>
                      <a:pPr algn="ctr"/>
                      <a:r>
                        <a:rPr lang="ru-RU" sz="800" b="1" i="1" dirty="0" smtClean="0"/>
                        <a:t>2017</a:t>
                      </a:r>
                      <a:endParaRPr lang="ru-RU" sz="800" b="1" i="1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передислокация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-</a:t>
                      </a:r>
                      <a:endParaRPr lang="ru-RU" sz="800" dirty="0"/>
                    </a:p>
                  </a:txBody>
                  <a:tcPr marT="34290" marB="34290" anchor="ctr"/>
                </a:tc>
              </a:tr>
              <a:tr h="429804">
                <a:tc vMerge="1"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/>
                        <a:t>Обновление на  вагон  без  УКВ</a:t>
                      </a: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err="1" smtClean="0"/>
                        <a:t>пл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1998-2001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23+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i="1" dirty="0" smtClean="0"/>
                        <a:t>Май </a:t>
                      </a:r>
                    </a:p>
                    <a:p>
                      <a:pPr algn="ctr"/>
                      <a:r>
                        <a:rPr lang="ru-RU" sz="800" b="1" i="1" dirty="0" smtClean="0"/>
                        <a:t>2017</a:t>
                      </a: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передислокация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-</a:t>
                      </a:r>
                      <a:endParaRPr lang="ru-RU" sz="800" dirty="0"/>
                    </a:p>
                  </a:txBody>
                  <a:tcPr marT="34290" marB="34290" anchor="ctr"/>
                </a:tc>
              </a:tr>
              <a:tr h="429804">
                <a:tc rowSpan="3"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89/90</a:t>
                      </a:r>
                      <a:endParaRPr lang="ru-RU" sz="800" dirty="0"/>
                    </a:p>
                  </a:txBody>
                  <a:tcPr marT="34290" marB="34290" anchor="ctr"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Нижний</a:t>
                      </a:r>
                      <a:r>
                        <a:rPr lang="ru-RU" sz="800" baseline="0" dirty="0" smtClean="0"/>
                        <a:t> Новгород - Воркута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Замена на вагон с  УКВ</a:t>
                      </a: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/>
                        <a:t>куп</a:t>
                      </a:r>
                    </a:p>
                    <a:p>
                      <a:pPr algn="ctr"/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1992-94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2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/>
                        <a:t>Октябрь 2016</a:t>
                      </a: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smtClean="0"/>
                        <a:t>передислокация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+</a:t>
                      </a:r>
                      <a:endParaRPr lang="ru-RU" sz="800" dirty="0"/>
                    </a:p>
                  </a:txBody>
                  <a:tcPr marT="34290" marB="34290" anchor="ctr"/>
                </a:tc>
              </a:tr>
              <a:tr h="429804">
                <a:tc vMerge="1"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Обновление на  вагон  без  УКВ</a:t>
                      </a: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err="1" smtClean="0"/>
                        <a:t>пл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1998-2001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13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i="1" dirty="0" smtClean="0"/>
                        <a:t>Апрель 2017</a:t>
                      </a:r>
                      <a:endParaRPr lang="ru-RU" sz="800" b="1" i="1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smtClean="0"/>
                        <a:t>передислокация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-</a:t>
                      </a:r>
                      <a:endParaRPr lang="ru-RU" sz="800" dirty="0"/>
                    </a:p>
                  </a:txBody>
                  <a:tcPr marT="34290" marB="34290" anchor="ctr"/>
                </a:tc>
              </a:tr>
              <a:tr h="429804">
                <a:tc vMerge="1"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Обновление на  вагон  без  УКВ</a:t>
                      </a: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err="1" smtClean="0"/>
                        <a:t>пл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1998-2001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10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i="1" dirty="0" smtClean="0"/>
                        <a:t>Май 2017</a:t>
                      </a:r>
                      <a:endParaRPr lang="ru-RU" sz="800" b="1" i="1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передислокация</a:t>
                      </a:r>
                      <a:endParaRPr lang="ru-RU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-</a:t>
                      </a:r>
                      <a:endParaRPr lang="ru-RU" sz="800" dirty="0"/>
                    </a:p>
                  </a:txBody>
                  <a:tcPr marT="34290" marB="3429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4109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46"/>
          <p:cNvSpPr txBox="1"/>
          <p:nvPr/>
        </p:nvSpPr>
        <p:spPr>
          <a:xfrm>
            <a:off x="1" y="1"/>
            <a:ext cx="914401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стояние вагонного парка вагонного участка Сыктывкар на 01.12.16г.</a:t>
            </a:r>
          </a:p>
          <a:p>
            <a:pPr algn="ctr"/>
            <a:r>
              <a:rPr lang="ru-RU" sz="11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                                                                                                                                                                       </a:t>
            </a:r>
            <a:r>
              <a:rPr lang="ru-RU" sz="11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</a:t>
            </a:r>
            <a:endParaRPr lang="ru-RU" sz="11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3407610498"/>
              </p:ext>
            </p:extLst>
          </p:nvPr>
        </p:nvGraphicFramePr>
        <p:xfrm>
          <a:off x="1" y="642925"/>
          <a:ext cx="9143999" cy="1875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066518" y="2679763"/>
            <a:ext cx="3927301" cy="160043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solidFill>
                  <a:prstClr val="black"/>
                </a:solidFill>
                <a:latin typeface="Calibri"/>
              </a:rPr>
              <a:t>С целью формирования поездов вагонного участка Сыктывкар из вагонов оборудованных УКВ и ЭЧТК на летние перевозки 2016г. было передано 7 вагонов, до конца года будет передано еще 15 вагонов. Данные вагоны будут курсировать  в поездах №33/34  Сыктывкар – Москва, №303/304, 305/306 Сыктывкар - Усинск</a:t>
            </a:r>
          </a:p>
        </p:txBody>
      </p:sp>
      <p:sp>
        <p:nvSpPr>
          <p:cNvPr id="6" name="Выноска со стрелкой влево 5"/>
          <p:cNvSpPr/>
          <p:nvPr/>
        </p:nvSpPr>
        <p:spPr>
          <a:xfrm>
            <a:off x="2483768" y="2679764"/>
            <a:ext cx="2321980" cy="1710273"/>
          </a:xfrm>
          <a:prstGeom prst="leftArrowCallou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300" dirty="0" smtClean="0">
                <a:solidFill>
                  <a:prstClr val="black"/>
                </a:solidFill>
              </a:rPr>
              <a:t>Инвентарный парк 217 вагоно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300" dirty="0" smtClean="0">
                <a:solidFill>
                  <a:prstClr val="black"/>
                </a:solidFill>
              </a:rPr>
              <a:t>Из них вагоно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300" dirty="0" smtClean="0">
                <a:solidFill>
                  <a:prstClr val="black"/>
                </a:solidFill>
              </a:rPr>
              <a:t>- с УКВ 62 (29%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300" dirty="0" smtClean="0">
                <a:solidFill>
                  <a:prstClr val="black"/>
                </a:solidFill>
              </a:rPr>
              <a:t>- с ЭЧТК 48 (22%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500" dirty="0" smtClean="0">
              <a:solidFill>
                <a:prstClr val="black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300" dirty="0" smtClean="0">
              <a:solidFill>
                <a:prstClr val="black"/>
              </a:solidFill>
            </a:endParaRPr>
          </a:p>
        </p:txBody>
      </p:sp>
      <p:pic>
        <p:nvPicPr>
          <p:cNvPr id="7" name="Picture 2" descr="Z:\Презентации-доклады\ТЭС 2011 Декабрь\вагон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79512" y="2717289"/>
            <a:ext cx="2304256" cy="1672753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13613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46"/>
          <p:cNvSpPr txBox="1"/>
          <p:nvPr/>
        </p:nvSpPr>
        <p:spPr>
          <a:xfrm>
            <a:off x="13" y="59235"/>
            <a:ext cx="9143999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394A5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скорение поездов № 77/78 Воркута – Санкт-Петербург, № 97/98 Микунь – Санкт-Петербург, с сокращением времени перестоя беспересадочных вагонов Сыктывкар – Санкт-Петербург</a:t>
            </a:r>
            <a:r>
              <a:rPr lang="ru-RU" sz="1400" b="1" dirty="0" smtClean="0">
                <a:solidFill>
                  <a:srgbClr val="394A5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</a:t>
            </a:r>
            <a:r>
              <a:rPr lang="ru-RU" sz="1400" b="1" dirty="0" smtClean="0">
                <a:solidFill>
                  <a:srgbClr val="394A58"/>
                </a:solidFill>
                <a:latin typeface="RussianRail G Pro" pitchFamily="34" charset="-52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100" b="1" dirty="0" smtClean="0">
                <a:solidFill>
                  <a:srgbClr val="394A58"/>
                </a:solidFill>
                <a:latin typeface="RussianRail G Pro" pitchFamily="34" charset="-52"/>
                <a:ea typeface="Verdana" panose="020B0604030504040204" pitchFamily="34" charset="0"/>
                <a:cs typeface="Verdana" panose="020B0604030504040204" pitchFamily="34" charset="0"/>
              </a:rPr>
              <a:t>5</a:t>
            </a:r>
            <a:r>
              <a:rPr lang="ru-RU" sz="1400" b="1" dirty="0" smtClean="0">
                <a:solidFill>
                  <a:srgbClr val="394A58"/>
                </a:solidFill>
                <a:latin typeface="RussianRail G Pro" pitchFamily="34" charset="-52"/>
                <a:ea typeface="Verdana" panose="020B0604030504040204" pitchFamily="34" charset="0"/>
                <a:cs typeface="Verdana" panose="020B0604030504040204" pitchFamily="34" charset="0"/>
              </a:rPr>
              <a:t>                                                                                                                                                 </a:t>
            </a:r>
            <a:endParaRPr lang="ru-RU" sz="1100" b="1" dirty="0">
              <a:solidFill>
                <a:srgbClr val="394A58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4" y="774718"/>
            <a:ext cx="6143790" cy="4113314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6236492" y="1084420"/>
            <a:ext cx="2832600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50" b="1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Ускорение поезда № 77/78 Воркута - Санкт-Петербург на 2 ч. 42 мин.  в одном направлении.</a:t>
            </a:r>
          </a:p>
          <a:p>
            <a:pPr>
              <a:spcBef>
                <a:spcPts val="600"/>
              </a:spcBef>
            </a:pPr>
            <a:r>
              <a:rPr lang="ru-RU" sz="1050" b="1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Время отправления из Воркуты в 20 ч. 30 мин,</a:t>
            </a:r>
          </a:p>
          <a:p>
            <a:pPr>
              <a:spcBef>
                <a:spcPts val="600"/>
              </a:spcBef>
            </a:pPr>
            <a:r>
              <a:rPr lang="ru-RU" sz="1050" b="1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Время прибытия в Санкт-Петербург в 18 ч. 45 мин.(вместо 21ч 52мин).</a:t>
            </a:r>
            <a:endParaRPr lang="ru-RU" sz="1050" b="1" dirty="0">
              <a:solidFill>
                <a:prstClr val="black"/>
              </a:solidFill>
              <a:latin typeface="RussianRail G Pro" panose="02000503040000020004" pitchFamily="50" charset="-52"/>
            </a:endParaRPr>
          </a:p>
          <a:p>
            <a:pPr>
              <a:spcBef>
                <a:spcPts val="600"/>
              </a:spcBef>
            </a:pPr>
            <a:endParaRPr lang="ru-RU" sz="1050" b="1" dirty="0">
              <a:solidFill>
                <a:prstClr val="black"/>
              </a:solidFill>
              <a:latin typeface="RussianRail G Pro" panose="02000503040000020004" pitchFamily="50" charset="-52"/>
            </a:endParaRPr>
          </a:p>
          <a:p>
            <a:pPr algn="just">
              <a:spcBef>
                <a:spcPts val="600"/>
              </a:spcBef>
            </a:pPr>
            <a:r>
              <a:rPr lang="ru-RU" sz="1050" b="1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Сокращение времени перестоя беспересадочной группы вагонов сообщением Сыктывкар - Санкт-Петербург до 3 ч. 41 мин. (вместо 6 ч. 24 мин).</a:t>
            </a:r>
          </a:p>
          <a:p>
            <a:pPr algn="just">
              <a:spcBef>
                <a:spcPts val="600"/>
              </a:spcBef>
            </a:pPr>
            <a:endParaRPr lang="ru-RU" sz="1050" b="1" dirty="0">
              <a:solidFill>
                <a:prstClr val="black"/>
              </a:solidFill>
              <a:latin typeface="RussianRail G Pro" panose="02000503040000020004" pitchFamily="50" charset="-52"/>
            </a:endParaRPr>
          </a:p>
          <a:p>
            <a:pPr algn="ctr">
              <a:spcBef>
                <a:spcPts val="600"/>
              </a:spcBef>
            </a:pPr>
            <a:endParaRPr lang="ru-RU" sz="1050" b="1" dirty="0" smtClean="0">
              <a:solidFill>
                <a:prstClr val="black"/>
              </a:solidFill>
              <a:latin typeface="RussianRail G Pro" panose="02000503040000020004" pitchFamily="50" charset="-52"/>
            </a:endParaRPr>
          </a:p>
          <a:p>
            <a:pPr algn="ctr">
              <a:spcBef>
                <a:spcPts val="600"/>
              </a:spcBef>
            </a:pPr>
            <a:endParaRPr lang="ru-RU" sz="1050" b="1" dirty="0">
              <a:solidFill>
                <a:prstClr val="black"/>
              </a:solidFill>
              <a:latin typeface="RussianRail G Pro" panose="02000503040000020004" pitchFamily="50" charset="-52"/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2523019" y="2445698"/>
            <a:ext cx="86401" cy="936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1" name="Овал 20"/>
          <p:cNvSpPr/>
          <p:nvPr/>
        </p:nvSpPr>
        <p:spPr>
          <a:xfrm>
            <a:off x="899597" y="1942897"/>
            <a:ext cx="86401" cy="936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0" name="Овал 29"/>
          <p:cNvSpPr/>
          <p:nvPr/>
        </p:nvSpPr>
        <p:spPr>
          <a:xfrm>
            <a:off x="3707912" y="2211710"/>
            <a:ext cx="86401" cy="936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3" name="Овал 32"/>
          <p:cNvSpPr/>
          <p:nvPr/>
        </p:nvSpPr>
        <p:spPr>
          <a:xfrm>
            <a:off x="1907719" y="2544784"/>
            <a:ext cx="86401" cy="936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 flipH="1">
            <a:off x="2565424" y="2258511"/>
            <a:ext cx="1142501" cy="229090"/>
          </a:xfrm>
          <a:prstGeom prst="line">
            <a:avLst/>
          </a:prstGeom>
          <a:ln w="12700">
            <a:solidFill>
              <a:srgbClr val="E21A1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>
            <a:stCxn id="33" idx="1"/>
          </p:cNvCxnSpPr>
          <p:nvPr/>
        </p:nvCxnSpPr>
        <p:spPr>
          <a:xfrm flipH="1" flipV="1">
            <a:off x="986014" y="2036508"/>
            <a:ext cx="934363" cy="521993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 flipH="1" flipV="1">
            <a:off x="2566200" y="2487602"/>
            <a:ext cx="515950" cy="321411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Скругленный прямоугольник 27"/>
          <p:cNvSpPr/>
          <p:nvPr/>
        </p:nvSpPr>
        <p:spPr>
          <a:xfrm>
            <a:off x="3794305" y="2025017"/>
            <a:ext cx="743374" cy="167333"/>
          </a:xfrm>
          <a:prstGeom prst="roundRect">
            <a:avLst/>
          </a:prstGeom>
          <a:solidFill>
            <a:schemeClr val="bg1"/>
          </a:solidFill>
          <a:ln>
            <a:solidFill>
              <a:srgbClr val="E21A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black"/>
                </a:solidFill>
              </a:rPr>
              <a:t>Воркута</a:t>
            </a: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22" name="Скругленный прямоугольник 27"/>
          <p:cNvSpPr/>
          <p:nvPr/>
        </p:nvSpPr>
        <p:spPr>
          <a:xfrm>
            <a:off x="3142613" y="2601347"/>
            <a:ext cx="970958" cy="167333"/>
          </a:xfrm>
          <a:prstGeom prst="roundRect">
            <a:avLst/>
          </a:prstGeom>
          <a:solidFill>
            <a:schemeClr val="bg1"/>
          </a:solidFill>
          <a:ln>
            <a:solidFill>
              <a:srgbClr val="E21A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black"/>
                </a:solidFill>
              </a:rPr>
              <a:t>Сыктывкар</a:t>
            </a: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1907704" y="2685003"/>
            <a:ext cx="1008112" cy="167333"/>
          </a:xfrm>
          <a:prstGeom prst="roundRect">
            <a:avLst/>
          </a:prstGeom>
          <a:solidFill>
            <a:schemeClr val="bg1"/>
          </a:solidFill>
          <a:ln>
            <a:solidFill>
              <a:srgbClr val="E21A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black"/>
                </a:solidFill>
              </a:rPr>
              <a:t>Череповец</a:t>
            </a: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31" name="Скругленный прямоугольник 27"/>
          <p:cNvSpPr/>
          <p:nvPr/>
        </p:nvSpPr>
        <p:spPr>
          <a:xfrm>
            <a:off x="2248626" y="2157040"/>
            <a:ext cx="721548" cy="167333"/>
          </a:xfrm>
          <a:prstGeom prst="roundRect">
            <a:avLst/>
          </a:prstGeom>
          <a:solidFill>
            <a:schemeClr val="bg1"/>
          </a:solidFill>
          <a:ln>
            <a:solidFill>
              <a:srgbClr val="E21A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black"/>
                </a:solidFill>
              </a:rPr>
              <a:t>Микунь</a:t>
            </a: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3054371" y="2762211"/>
            <a:ext cx="86401" cy="936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24" name="Прямая соединительная линия 23"/>
          <p:cNvCxnSpPr>
            <a:stCxn id="20" idx="2"/>
          </p:cNvCxnSpPr>
          <p:nvPr/>
        </p:nvCxnSpPr>
        <p:spPr>
          <a:xfrm flipH="1">
            <a:off x="1940800" y="2492498"/>
            <a:ext cx="582219" cy="99087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Скругленный прямоугольник 25"/>
          <p:cNvSpPr/>
          <p:nvPr/>
        </p:nvSpPr>
        <p:spPr>
          <a:xfrm>
            <a:off x="989394" y="1775574"/>
            <a:ext cx="1077374" cy="167333"/>
          </a:xfrm>
          <a:prstGeom prst="roundRect">
            <a:avLst/>
          </a:prstGeom>
          <a:solidFill>
            <a:schemeClr val="bg1"/>
          </a:solidFill>
          <a:ln>
            <a:solidFill>
              <a:srgbClr val="E21A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err="1" smtClean="0">
                <a:solidFill>
                  <a:prstClr val="black"/>
                </a:solidFill>
              </a:rPr>
              <a:t>С.Петербург</a:t>
            </a:r>
            <a:endParaRPr lang="ru-RU" sz="1200" b="1" dirty="0">
              <a:solidFill>
                <a:prstClr val="black"/>
              </a:solidFill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H="1">
            <a:off x="2594095" y="2216610"/>
            <a:ext cx="1142501" cy="229090"/>
          </a:xfrm>
          <a:prstGeom prst="line">
            <a:avLst/>
          </a:prstGeom>
          <a:ln w="12700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>
            <a:stCxn id="20" idx="1"/>
          </p:cNvCxnSpPr>
          <p:nvPr/>
        </p:nvCxnSpPr>
        <p:spPr>
          <a:xfrm flipH="1">
            <a:off x="1967442" y="2459405"/>
            <a:ext cx="568210" cy="90333"/>
          </a:xfrm>
          <a:prstGeom prst="line">
            <a:avLst/>
          </a:prstGeom>
          <a:ln w="12700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>
            <a:stCxn id="33" idx="0"/>
            <a:endCxn id="21" idx="6"/>
          </p:cNvCxnSpPr>
          <p:nvPr/>
        </p:nvCxnSpPr>
        <p:spPr>
          <a:xfrm flipH="1" flipV="1">
            <a:off x="985993" y="1989698"/>
            <a:ext cx="964912" cy="555087"/>
          </a:xfrm>
          <a:prstGeom prst="line">
            <a:avLst/>
          </a:prstGeom>
          <a:ln w="12700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6701" y="2487491"/>
            <a:ext cx="445398" cy="2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9745" y="3943050"/>
            <a:ext cx="945319" cy="434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4271" y="3944034"/>
            <a:ext cx="866946" cy="434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9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8952" y="3943050"/>
            <a:ext cx="945319" cy="432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063498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46"/>
          <p:cNvSpPr txBox="1"/>
          <p:nvPr/>
        </p:nvSpPr>
        <p:spPr>
          <a:xfrm>
            <a:off x="-15438" y="30005"/>
            <a:ext cx="91439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394A5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значение нового поезда сообщением Воркута-Белгород, </a:t>
            </a:r>
          </a:p>
          <a:p>
            <a:pPr algn="ctr"/>
            <a:r>
              <a:rPr lang="ru-RU" sz="1600" b="1" dirty="0" smtClean="0">
                <a:solidFill>
                  <a:srgbClr val="394A5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 беспересадочной группой вагонов Архангельск-Белгород                      </a:t>
            </a:r>
            <a:r>
              <a:rPr lang="ru-RU" sz="1100" dirty="0" smtClean="0">
                <a:solidFill>
                  <a:srgbClr val="394A5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</a:t>
            </a:r>
            <a:r>
              <a:rPr lang="ru-RU" sz="1600" b="1" dirty="0" smtClean="0">
                <a:solidFill>
                  <a:srgbClr val="394A5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400" b="1" dirty="0" smtClean="0">
                <a:solidFill>
                  <a:srgbClr val="394A5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                                 </a:t>
            </a:r>
            <a:endParaRPr lang="ru-RU" sz="1100" b="1" dirty="0">
              <a:solidFill>
                <a:srgbClr val="394A58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4" y="752353"/>
            <a:ext cx="6143790" cy="4113314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6235200" y="842413"/>
            <a:ext cx="2832600" cy="40780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100" b="1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Назначение поезда в летний период</a:t>
            </a:r>
          </a:p>
          <a:p>
            <a:pPr>
              <a:spcBef>
                <a:spcPts val="600"/>
              </a:spcBef>
            </a:pPr>
            <a:r>
              <a:rPr lang="ru-RU" sz="1100" b="1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Периодичность курсирования 1 раз в неделю</a:t>
            </a:r>
            <a:endParaRPr lang="ru-RU" sz="1100" b="1" dirty="0">
              <a:solidFill>
                <a:prstClr val="black"/>
              </a:solidFill>
              <a:latin typeface="RussianRail G Pro" panose="02000503040000020004" pitchFamily="50" charset="-52"/>
            </a:endParaRPr>
          </a:p>
          <a:p>
            <a:pPr>
              <a:spcBef>
                <a:spcPts val="600"/>
              </a:spcBef>
            </a:pPr>
            <a:r>
              <a:rPr lang="ru-RU" sz="1100" b="1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Время </a:t>
            </a:r>
            <a:r>
              <a:rPr lang="ru-RU" sz="1100" b="1" dirty="0">
                <a:solidFill>
                  <a:prstClr val="black"/>
                </a:solidFill>
                <a:latin typeface="RussianRail G Pro" panose="02000503040000020004" pitchFamily="50" charset="-52"/>
              </a:rPr>
              <a:t>отправления из Воркуты в 23 </a:t>
            </a:r>
            <a:r>
              <a:rPr lang="ru-RU" sz="1100" b="1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ч. </a:t>
            </a:r>
            <a:r>
              <a:rPr lang="ru-RU" sz="1100" b="1" dirty="0">
                <a:solidFill>
                  <a:prstClr val="black"/>
                </a:solidFill>
                <a:latin typeface="RussianRail G Pro" panose="02000503040000020004" pitchFamily="50" charset="-52"/>
              </a:rPr>
              <a:t>10 </a:t>
            </a:r>
            <a:r>
              <a:rPr lang="ru-RU" sz="1100" b="1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мин.,</a:t>
            </a:r>
            <a:endParaRPr lang="ru-RU" sz="1100" b="1" dirty="0">
              <a:solidFill>
                <a:prstClr val="black"/>
              </a:solidFill>
              <a:latin typeface="RussianRail G Pro" panose="02000503040000020004" pitchFamily="50" charset="-52"/>
            </a:endParaRPr>
          </a:p>
          <a:p>
            <a:pPr>
              <a:spcBef>
                <a:spcPts val="600"/>
              </a:spcBef>
            </a:pPr>
            <a:r>
              <a:rPr lang="ru-RU" sz="1100" b="1" dirty="0">
                <a:solidFill>
                  <a:prstClr val="black"/>
                </a:solidFill>
                <a:latin typeface="RussianRail G Pro" panose="02000503040000020004" pitchFamily="50" charset="-52"/>
              </a:rPr>
              <a:t>Время прибытия в Белгород в 12 </a:t>
            </a:r>
            <a:r>
              <a:rPr lang="ru-RU" sz="1100" b="1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ч. </a:t>
            </a:r>
            <a:r>
              <a:rPr lang="ru-RU" sz="1100" b="1" dirty="0">
                <a:solidFill>
                  <a:prstClr val="black"/>
                </a:solidFill>
                <a:latin typeface="RussianRail G Pro" panose="02000503040000020004" pitchFamily="50" charset="-52"/>
              </a:rPr>
              <a:t>00 </a:t>
            </a:r>
            <a:r>
              <a:rPr lang="ru-RU" sz="1100" b="1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мин.</a:t>
            </a:r>
            <a:endParaRPr lang="ru-RU" sz="1100" b="1" dirty="0">
              <a:solidFill>
                <a:prstClr val="black"/>
              </a:solidFill>
              <a:latin typeface="RussianRail G Pro" panose="02000503040000020004" pitchFamily="50" charset="-52"/>
            </a:endParaRPr>
          </a:p>
          <a:p>
            <a:pPr>
              <a:spcBef>
                <a:spcPts val="600"/>
              </a:spcBef>
            </a:pPr>
            <a:r>
              <a:rPr lang="ru-RU" sz="1100" b="1" dirty="0">
                <a:solidFill>
                  <a:prstClr val="black"/>
                </a:solidFill>
                <a:latin typeface="RussianRail G Pro" panose="02000503040000020004" pitchFamily="50" charset="-52"/>
              </a:rPr>
              <a:t>Время отправления из Белгорода в 17 </a:t>
            </a:r>
            <a:r>
              <a:rPr lang="ru-RU" sz="1100" b="1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ч. </a:t>
            </a:r>
            <a:r>
              <a:rPr lang="ru-RU" sz="1100" b="1" dirty="0">
                <a:solidFill>
                  <a:prstClr val="black"/>
                </a:solidFill>
                <a:latin typeface="RussianRail G Pro" panose="02000503040000020004" pitchFamily="50" charset="-52"/>
              </a:rPr>
              <a:t>15 </a:t>
            </a:r>
            <a:r>
              <a:rPr lang="ru-RU" sz="1100" b="1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мин,</a:t>
            </a:r>
            <a:endParaRPr lang="ru-RU" sz="1100" b="1" dirty="0">
              <a:solidFill>
                <a:prstClr val="black"/>
              </a:solidFill>
              <a:latin typeface="RussianRail G Pro" panose="02000503040000020004" pitchFamily="50" charset="-52"/>
            </a:endParaRPr>
          </a:p>
          <a:p>
            <a:pPr>
              <a:spcBef>
                <a:spcPts val="600"/>
              </a:spcBef>
            </a:pPr>
            <a:r>
              <a:rPr lang="ru-RU" sz="1100" b="1" dirty="0">
                <a:solidFill>
                  <a:prstClr val="black"/>
                </a:solidFill>
                <a:latin typeface="RussianRail G Pro" panose="02000503040000020004" pitchFamily="50" charset="-52"/>
              </a:rPr>
              <a:t>Время прибытия в Воркуту в 03 </a:t>
            </a:r>
            <a:r>
              <a:rPr lang="ru-RU" sz="1100" b="1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ч. </a:t>
            </a:r>
            <a:r>
              <a:rPr lang="ru-RU" sz="1100" b="1" dirty="0">
                <a:solidFill>
                  <a:prstClr val="black"/>
                </a:solidFill>
                <a:latin typeface="RussianRail G Pro" panose="02000503040000020004" pitchFamily="50" charset="-52"/>
              </a:rPr>
              <a:t>00 </a:t>
            </a:r>
            <a:r>
              <a:rPr lang="ru-RU" sz="1100" b="1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мин.</a:t>
            </a:r>
            <a:endParaRPr lang="ru-RU" sz="1100" b="1" dirty="0">
              <a:solidFill>
                <a:prstClr val="black"/>
              </a:solidFill>
              <a:latin typeface="RussianRail G Pro" panose="02000503040000020004" pitchFamily="50" charset="-52"/>
            </a:endParaRPr>
          </a:p>
          <a:p>
            <a:pPr>
              <a:spcBef>
                <a:spcPts val="600"/>
              </a:spcBef>
            </a:pPr>
            <a:endParaRPr lang="ru-RU" sz="1100" b="1" dirty="0" smtClean="0">
              <a:solidFill>
                <a:prstClr val="black"/>
              </a:solidFill>
              <a:latin typeface="RussianRail G Pro" panose="02000503040000020004" pitchFamily="50" charset="-52"/>
            </a:endParaRPr>
          </a:p>
          <a:p>
            <a:pPr>
              <a:spcBef>
                <a:spcPts val="600"/>
              </a:spcBef>
            </a:pPr>
            <a:endParaRPr lang="ru-RU" sz="1100" b="1" dirty="0">
              <a:solidFill>
                <a:prstClr val="black"/>
              </a:solidFill>
              <a:latin typeface="RussianRail G Pro" panose="02000503040000020004" pitchFamily="50" charset="-52"/>
            </a:endParaRPr>
          </a:p>
          <a:p>
            <a:pPr>
              <a:spcBef>
                <a:spcPts val="600"/>
              </a:spcBef>
            </a:pPr>
            <a:endParaRPr lang="ru-RU" sz="1100" b="1" dirty="0" smtClean="0">
              <a:solidFill>
                <a:prstClr val="black"/>
              </a:solidFill>
              <a:latin typeface="RussianRail G Pro" panose="02000503040000020004" pitchFamily="50" charset="-52"/>
            </a:endParaRPr>
          </a:p>
          <a:p>
            <a:pPr algn="ctr">
              <a:spcBef>
                <a:spcPts val="600"/>
              </a:spcBef>
            </a:pPr>
            <a:r>
              <a:rPr lang="ru-RU" sz="1100" b="1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Беспересадочная </a:t>
            </a:r>
            <a:r>
              <a:rPr lang="ru-RU" sz="1100" b="1" dirty="0">
                <a:solidFill>
                  <a:prstClr val="black"/>
                </a:solidFill>
                <a:latin typeface="RussianRail G Pro" panose="02000503040000020004" pitchFamily="50" charset="-52"/>
              </a:rPr>
              <a:t>группа </a:t>
            </a:r>
            <a:r>
              <a:rPr lang="ru-RU" sz="1100" b="1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вагонов сообщением Архангельск-Белгород </a:t>
            </a:r>
            <a:r>
              <a:rPr lang="ru-RU" sz="1100" b="1" dirty="0">
                <a:solidFill>
                  <a:prstClr val="black"/>
                </a:solidFill>
                <a:latin typeface="RussianRail G Pro" panose="02000503040000020004" pitchFamily="50" charset="-52"/>
              </a:rPr>
              <a:t>прицепляется и отцепляется по станции Коноша.</a:t>
            </a:r>
          </a:p>
          <a:p>
            <a:pPr>
              <a:spcBef>
                <a:spcPts val="600"/>
              </a:spcBef>
            </a:pPr>
            <a:endParaRPr lang="ru-RU" sz="1100" b="1" dirty="0">
              <a:solidFill>
                <a:prstClr val="black"/>
              </a:solidFill>
              <a:latin typeface="RussianRail G Pro" panose="02000503040000020004" pitchFamily="50" charset="-52"/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2037606" y="2440800"/>
            <a:ext cx="86401" cy="936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1" name="Овал 20"/>
          <p:cNvSpPr/>
          <p:nvPr/>
        </p:nvSpPr>
        <p:spPr>
          <a:xfrm>
            <a:off x="2249985" y="1779662"/>
            <a:ext cx="86401" cy="936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0" name="Овал 29"/>
          <p:cNvSpPr/>
          <p:nvPr/>
        </p:nvSpPr>
        <p:spPr>
          <a:xfrm>
            <a:off x="3707912" y="2211710"/>
            <a:ext cx="86401" cy="936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3" name="Овал 32"/>
          <p:cNvSpPr/>
          <p:nvPr/>
        </p:nvSpPr>
        <p:spPr>
          <a:xfrm>
            <a:off x="528061" y="3370361"/>
            <a:ext cx="86401" cy="936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42" name="Прямая соединительная линия 41"/>
          <p:cNvCxnSpPr>
            <a:endCxn id="20" idx="5"/>
          </p:cNvCxnSpPr>
          <p:nvPr/>
        </p:nvCxnSpPr>
        <p:spPr>
          <a:xfrm flipH="1">
            <a:off x="2111360" y="2258520"/>
            <a:ext cx="1596557" cy="262183"/>
          </a:xfrm>
          <a:prstGeom prst="line">
            <a:avLst/>
          </a:prstGeom>
          <a:ln w="12700">
            <a:solidFill>
              <a:srgbClr val="E21A1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>
            <a:stCxn id="20" idx="7"/>
          </p:cNvCxnSpPr>
          <p:nvPr/>
        </p:nvCxnSpPr>
        <p:spPr>
          <a:xfrm flipV="1">
            <a:off x="2111347" y="1869518"/>
            <a:ext cx="181824" cy="584991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>
            <a:endCxn id="20" idx="3"/>
          </p:cNvCxnSpPr>
          <p:nvPr/>
        </p:nvCxnSpPr>
        <p:spPr>
          <a:xfrm flipV="1">
            <a:off x="611560" y="2520694"/>
            <a:ext cx="1438692" cy="896468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Скругленный прямоугольник 27"/>
          <p:cNvSpPr/>
          <p:nvPr/>
        </p:nvSpPr>
        <p:spPr>
          <a:xfrm>
            <a:off x="3707904" y="1989707"/>
            <a:ext cx="743374" cy="167333"/>
          </a:xfrm>
          <a:prstGeom prst="roundRect">
            <a:avLst/>
          </a:prstGeom>
          <a:solidFill>
            <a:schemeClr val="bg1"/>
          </a:solidFill>
          <a:ln>
            <a:solidFill>
              <a:srgbClr val="E21A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black"/>
                </a:solidFill>
              </a:rPr>
              <a:t>Воркута</a:t>
            </a: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22" name="Скругленный прямоугольник 27"/>
          <p:cNvSpPr/>
          <p:nvPr/>
        </p:nvSpPr>
        <p:spPr>
          <a:xfrm>
            <a:off x="2232890" y="1563648"/>
            <a:ext cx="1023022" cy="167333"/>
          </a:xfrm>
          <a:prstGeom prst="roundRect">
            <a:avLst/>
          </a:prstGeom>
          <a:solidFill>
            <a:schemeClr val="bg1"/>
          </a:solidFill>
          <a:ln>
            <a:solidFill>
              <a:srgbClr val="E21A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black"/>
                </a:solidFill>
              </a:rPr>
              <a:t>Архангельск</a:t>
            </a: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186586" y="3496205"/>
            <a:ext cx="855712" cy="167333"/>
          </a:xfrm>
          <a:prstGeom prst="roundRect">
            <a:avLst/>
          </a:prstGeom>
          <a:solidFill>
            <a:schemeClr val="bg1"/>
          </a:solidFill>
          <a:ln>
            <a:solidFill>
              <a:srgbClr val="E21A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black"/>
                </a:solidFill>
              </a:rPr>
              <a:t>Белгород</a:t>
            </a: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31" name="Скругленный прямоугольник 27"/>
          <p:cNvSpPr/>
          <p:nvPr/>
        </p:nvSpPr>
        <p:spPr>
          <a:xfrm>
            <a:off x="2050252" y="2603032"/>
            <a:ext cx="743374" cy="167333"/>
          </a:xfrm>
          <a:prstGeom prst="roundRect">
            <a:avLst/>
          </a:prstGeom>
          <a:solidFill>
            <a:schemeClr val="bg1"/>
          </a:solidFill>
          <a:ln>
            <a:solidFill>
              <a:srgbClr val="E21A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black"/>
                </a:solidFill>
              </a:rPr>
              <a:t>Коноша</a:t>
            </a:r>
            <a:endParaRPr lang="ru-RU" sz="1200" b="1" dirty="0">
              <a:solidFill>
                <a:prstClr val="black"/>
              </a:solidFill>
            </a:endParaRPr>
          </a:p>
        </p:txBody>
      </p:sp>
      <p:pic>
        <p:nvPicPr>
          <p:cNvPr id="18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8100" y="2305310"/>
            <a:ext cx="445398" cy="2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1081" y="3417171"/>
            <a:ext cx="945319" cy="434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6394" y="3417170"/>
            <a:ext cx="945319" cy="434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8702" y="3417169"/>
            <a:ext cx="945319" cy="434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645276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09" name="Picture 109" descr="C:\Users\YablonskayaSE-sev\Desktop\Микунь - Сыктывкар.JPG"/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624" y="983915"/>
            <a:ext cx="6080936" cy="992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9" name="Объект 7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9283543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" y="0"/>
            <a:ext cx="9143999" cy="59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0" noProof="0" dirty="0" smtClean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О</a:t>
            </a:r>
            <a:r>
              <a:rPr kumimoji="0" lang="ru-RU" sz="1600" b="1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рганизация мультимодальных перевозок по маршруту               Сыктывкар – Микунь </a:t>
            </a:r>
            <a:r>
              <a:rPr kumimoji="0" lang="ru-RU" sz="1600" b="1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– Москва                                                                        </a:t>
            </a:r>
            <a:r>
              <a:rPr kumimoji="0" lang="ru-RU" sz="11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7</a:t>
            </a:r>
            <a:endParaRPr kumimoji="0" lang="ru-RU" sz="11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4"/>
            </p:custDataLst>
          </p:nvPr>
        </p:nvSpPr>
        <p:spPr>
          <a:xfrm>
            <a:off x="124106" y="3234611"/>
            <a:ext cx="1332000" cy="189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300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ремя в пути</a:t>
            </a:r>
            <a:endParaRPr lang="ru-RU" sz="1300" b="1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5"/>
            </p:custDataLst>
          </p:nvPr>
        </p:nvSpPr>
        <p:spPr>
          <a:xfrm>
            <a:off x="2258641" y="2773637"/>
            <a:ext cx="1908000" cy="16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ru-RU" sz="10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езд дальнего </a:t>
            </a:r>
          </a:p>
          <a:p>
            <a:pPr algn="ctr"/>
            <a:r>
              <a:rPr lang="ru-RU" sz="10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ледования</a:t>
            </a:r>
            <a:endParaRPr lang="ru-RU" sz="1000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6"/>
            </p:custDataLst>
          </p:nvPr>
        </p:nvSpPr>
        <p:spPr>
          <a:xfrm>
            <a:off x="1169511" y="2777368"/>
            <a:ext cx="1534683" cy="16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ru-RU" sz="10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втобус</a:t>
            </a:r>
            <a:endParaRPr lang="ru-RU" sz="1000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Прямоугольник 46"/>
          <p:cNvSpPr/>
          <p:nvPr>
            <p:custDataLst>
              <p:tags r:id="rId7"/>
            </p:custDataLst>
          </p:nvPr>
        </p:nvSpPr>
        <p:spPr>
          <a:xfrm>
            <a:off x="1812470" y="4347642"/>
            <a:ext cx="1925070" cy="2399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400" dirty="0" smtClean="0">
                <a:solidFill>
                  <a:prstClr val="black">
                    <a:lumMod val="85000"/>
                    <a:lumOff val="15000"/>
                  </a:prst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2 пасс./сутки</a:t>
            </a:r>
          </a:p>
          <a:p>
            <a:endParaRPr lang="ru-RU" sz="1000" dirty="0">
              <a:solidFill>
                <a:prstClr val="black">
                  <a:lumMod val="85000"/>
                  <a:lumOff val="15000"/>
                </a:prstClr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88" name="Прямая соединительная линия 87"/>
          <p:cNvCxnSpPr/>
          <p:nvPr>
            <p:custDataLst>
              <p:tags r:id="rId8"/>
            </p:custDataLst>
          </p:nvPr>
        </p:nvCxnSpPr>
        <p:spPr>
          <a:xfrm>
            <a:off x="196102" y="4146806"/>
            <a:ext cx="8892000" cy="0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Прямоугольник 88"/>
          <p:cNvSpPr/>
          <p:nvPr>
            <p:custDataLst>
              <p:tags r:id="rId9"/>
            </p:custDataLst>
          </p:nvPr>
        </p:nvSpPr>
        <p:spPr>
          <a:xfrm>
            <a:off x="107504" y="4242769"/>
            <a:ext cx="1656000" cy="43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300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ассажиро-поток</a:t>
            </a:r>
            <a:endParaRPr lang="ru-RU" sz="1300" b="1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Стрелка вправо 1"/>
          <p:cNvSpPr/>
          <p:nvPr/>
        </p:nvSpPr>
        <p:spPr>
          <a:xfrm>
            <a:off x="3139097" y="4234754"/>
            <a:ext cx="183636" cy="432000"/>
          </a:xfrm>
          <a:prstGeom prst="rightArrow">
            <a:avLst>
              <a:gd name="adj1" fmla="val 50000"/>
              <a:gd name="adj2" fmla="val 116347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1" name="Прямоугольник 90"/>
          <p:cNvSpPr/>
          <p:nvPr>
            <p:custDataLst>
              <p:tags r:id="rId10"/>
            </p:custDataLst>
          </p:nvPr>
        </p:nvSpPr>
        <p:spPr>
          <a:xfrm>
            <a:off x="3566000" y="4306321"/>
            <a:ext cx="1008000" cy="189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2400" b="1" dirty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r>
              <a:rPr lang="ru-RU" sz="14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автобус </a:t>
            </a:r>
            <a:endParaRPr lang="ru-RU" sz="1400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3" name="Прямоугольник 92"/>
          <p:cNvSpPr/>
          <p:nvPr>
            <p:custDataLst>
              <p:tags r:id="rId11"/>
            </p:custDataLst>
          </p:nvPr>
        </p:nvSpPr>
        <p:spPr>
          <a:xfrm>
            <a:off x="5089195" y="3977798"/>
            <a:ext cx="2808000" cy="189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ru-RU" sz="1400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0" name="Овал 69"/>
          <p:cNvSpPr/>
          <p:nvPr/>
        </p:nvSpPr>
        <p:spPr>
          <a:xfrm>
            <a:off x="4085231" y="3370161"/>
            <a:ext cx="252000" cy="156199"/>
          </a:xfrm>
          <a:prstGeom prst="ellipse">
            <a:avLst/>
          </a:prstGeom>
          <a:solidFill>
            <a:srgbClr val="B43C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1" name="Овал 70"/>
          <p:cNvSpPr/>
          <p:nvPr/>
        </p:nvSpPr>
        <p:spPr>
          <a:xfrm>
            <a:off x="6965765" y="3322106"/>
            <a:ext cx="252000" cy="156199"/>
          </a:xfrm>
          <a:prstGeom prst="ellipse">
            <a:avLst/>
          </a:prstGeom>
          <a:solidFill>
            <a:srgbClr val="B43C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0" name="Овал 79"/>
          <p:cNvSpPr/>
          <p:nvPr/>
        </p:nvSpPr>
        <p:spPr>
          <a:xfrm>
            <a:off x="8806254" y="3246985"/>
            <a:ext cx="252000" cy="156199"/>
          </a:xfrm>
          <a:prstGeom prst="ellipse">
            <a:avLst/>
          </a:prstGeom>
          <a:solidFill>
            <a:srgbClr val="B43C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00" name="Прямая соединительная линия 99"/>
          <p:cNvCxnSpPr/>
          <p:nvPr/>
        </p:nvCxnSpPr>
        <p:spPr>
          <a:xfrm>
            <a:off x="7261945" y="3370161"/>
            <a:ext cx="1505323" cy="1"/>
          </a:xfrm>
          <a:prstGeom prst="line">
            <a:avLst/>
          </a:prstGeom>
          <a:ln w="635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Прямая соединительная линия 100"/>
          <p:cNvCxnSpPr/>
          <p:nvPr/>
        </p:nvCxnSpPr>
        <p:spPr>
          <a:xfrm flipV="1">
            <a:off x="4432131" y="3415299"/>
            <a:ext cx="2393796" cy="371"/>
          </a:xfrm>
          <a:prstGeom prst="line">
            <a:avLst/>
          </a:prstGeom>
          <a:ln w="635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Прямая соединительная линия 102"/>
          <p:cNvCxnSpPr/>
          <p:nvPr/>
        </p:nvCxnSpPr>
        <p:spPr>
          <a:xfrm flipV="1">
            <a:off x="7331442" y="3406373"/>
            <a:ext cx="1404027" cy="284"/>
          </a:xfrm>
          <a:prstGeom prst="line">
            <a:avLst/>
          </a:prstGeom>
          <a:ln w="3810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Прямоугольник 104"/>
          <p:cNvSpPr/>
          <p:nvPr>
            <p:custDataLst>
              <p:tags r:id="rId12"/>
            </p:custDataLst>
          </p:nvPr>
        </p:nvSpPr>
        <p:spPr>
          <a:xfrm>
            <a:off x="6562462" y="2641114"/>
            <a:ext cx="2844000" cy="1977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ru-RU" sz="1200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езд № 375/376</a:t>
            </a:r>
          </a:p>
          <a:p>
            <a:pPr algn="ctr"/>
            <a:r>
              <a:rPr lang="ru-RU" sz="12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800" b="1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Воркута – Москва)</a:t>
            </a:r>
            <a:endParaRPr lang="ru-RU" sz="1200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6" name="Прямоугольник 105"/>
          <p:cNvSpPr/>
          <p:nvPr>
            <p:custDataLst>
              <p:tags r:id="rId13"/>
            </p:custDataLst>
          </p:nvPr>
        </p:nvSpPr>
        <p:spPr>
          <a:xfrm>
            <a:off x="4344024" y="2855703"/>
            <a:ext cx="2592000" cy="128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ru-RU" sz="1200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втобус</a:t>
            </a:r>
            <a:endParaRPr lang="ru-RU" sz="1000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7" name="Прямоугольник 106"/>
          <p:cNvSpPr/>
          <p:nvPr>
            <p:custDataLst>
              <p:tags r:id="rId14"/>
            </p:custDataLst>
          </p:nvPr>
        </p:nvSpPr>
        <p:spPr>
          <a:xfrm>
            <a:off x="6920904" y="3748231"/>
            <a:ext cx="2304000" cy="2829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ru-RU" sz="12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О «ФПК»</a:t>
            </a:r>
            <a:endParaRPr lang="ru-RU" sz="12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8" name="Прямоугольник 107"/>
          <p:cNvSpPr/>
          <p:nvPr>
            <p:custDataLst>
              <p:tags r:id="rId15"/>
            </p:custDataLst>
          </p:nvPr>
        </p:nvSpPr>
        <p:spPr>
          <a:xfrm>
            <a:off x="4394589" y="3748231"/>
            <a:ext cx="2699012" cy="196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ru-RU" sz="1100" b="1" dirty="0" smtClean="0">
                <a:solidFill>
                  <a:srgbClr val="9BBB59">
                    <a:lumMod val="7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ранспортная компания</a:t>
            </a:r>
            <a:endParaRPr lang="ru-RU" sz="1100" b="1" dirty="0">
              <a:solidFill>
                <a:srgbClr val="9BBB59">
                  <a:lumMod val="75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09" name="Прямая со стрелкой 108"/>
          <p:cNvCxnSpPr/>
          <p:nvPr/>
        </p:nvCxnSpPr>
        <p:spPr>
          <a:xfrm>
            <a:off x="7217765" y="3225041"/>
            <a:ext cx="364611" cy="0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Прямоугольник 109"/>
          <p:cNvSpPr/>
          <p:nvPr>
            <p:custDataLst>
              <p:tags r:id="rId16"/>
            </p:custDataLst>
          </p:nvPr>
        </p:nvSpPr>
        <p:spPr>
          <a:xfrm>
            <a:off x="7074313" y="3066264"/>
            <a:ext cx="612000" cy="128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ru-RU" sz="12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4:40</a:t>
            </a:r>
            <a:endParaRPr lang="ru-RU" sz="1200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11" name="Прямая со стрелкой 110"/>
          <p:cNvCxnSpPr/>
          <p:nvPr/>
        </p:nvCxnSpPr>
        <p:spPr>
          <a:xfrm>
            <a:off x="4438376" y="3322106"/>
            <a:ext cx="432048" cy="0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11"/>
          <p:cNvSpPr/>
          <p:nvPr>
            <p:custDataLst>
              <p:tags r:id="rId17"/>
            </p:custDataLst>
          </p:nvPr>
        </p:nvSpPr>
        <p:spPr>
          <a:xfrm>
            <a:off x="4327023" y="3014570"/>
            <a:ext cx="612000" cy="2104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ru-RU" sz="12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:30</a:t>
            </a:r>
            <a:endParaRPr lang="ru-RU" sz="1200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13" name="Прямая со стрелкой 112"/>
          <p:cNvCxnSpPr/>
          <p:nvPr/>
        </p:nvCxnSpPr>
        <p:spPr>
          <a:xfrm>
            <a:off x="6414526" y="3283369"/>
            <a:ext cx="365094" cy="0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Прямоугольник 113"/>
          <p:cNvSpPr/>
          <p:nvPr>
            <p:custDataLst>
              <p:tags r:id="rId18"/>
            </p:custDataLst>
          </p:nvPr>
        </p:nvSpPr>
        <p:spPr>
          <a:xfrm>
            <a:off x="6324024" y="3066264"/>
            <a:ext cx="612000" cy="128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ru-RU" sz="12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4:00</a:t>
            </a:r>
            <a:endParaRPr lang="ru-RU" sz="1200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15" name="Прямая со стрелкой 114"/>
          <p:cNvCxnSpPr/>
          <p:nvPr/>
        </p:nvCxnSpPr>
        <p:spPr>
          <a:xfrm flipV="1">
            <a:off x="8355237" y="3235358"/>
            <a:ext cx="416080" cy="5491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Прямоугольник 115"/>
          <p:cNvSpPr/>
          <p:nvPr>
            <p:custDataLst>
              <p:tags r:id="rId19"/>
            </p:custDataLst>
          </p:nvPr>
        </p:nvSpPr>
        <p:spPr>
          <a:xfrm rot="10800000" flipV="1">
            <a:off x="8243424" y="3092063"/>
            <a:ext cx="648559" cy="45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ru-RU" sz="12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:43</a:t>
            </a:r>
            <a:endParaRPr lang="ru-RU" sz="1200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17" name="Прямая со стрелкой 116"/>
          <p:cNvCxnSpPr/>
          <p:nvPr/>
        </p:nvCxnSpPr>
        <p:spPr>
          <a:xfrm flipH="1">
            <a:off x="8438687" y="3608276"/>
            <a:ext cx="422517" cy="0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Прямоугольник 117"/>
          <p:cNvSpPr/>
          <p:nvPr>
            <p:custDataLst>
              <p:tags r:id="rId20"/>
            </p:custDataLst>
          </p:nvPr>
        </p:nvSpPr>
        <p:spPr>
          <a:xfrm>
            <a:off x="8404080" y="3370161"/>
            <a:ext cx="612000" cy="2048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ru-RU" sz="12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2:50</a:t>
            </a:r>
            <a:endParaRPr lang="ru-RU" sz="1200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19" name="Прямая со стрелкой 118"/>
          <p:cNvCxnSpPr/>
          <p:nvPr/>
        </p:nvCxnSpPr>
        <p:spPr>
          <a:xfrm flipH="1">
            <a:off x="7134901" y="3628449"/>
            <a:ext cx="612000" cy="0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Прямоугольник 119"/>
          <p:cNvSpPr/>
          <p:nvPr>
            <p:custDataLst>
              <p:tags r:id="rId21"/>
            </p:custDataLst>
          </p:nvPr>
        </p:nvSpPr>
        <p:spPr>
          <a:xfrm>
            <a:off x="7183321" y="3415299"/>
            <a:ext cx="612000" cy="183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ru-RU" sz="12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:13</a:t>
            </a:r>
            <a:endParaRPr lang="ru-RU" sz="1200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21" name="Прямая со стрелкой 120"/>
          <p:cNvCxnSpPr/>
          <p:nvPr/>
        </p:nvCxnSpPr>
        <p:spPr>
          <a:xfrm flipH="1">
            <a:off x="6378965" y="3637856"/>
            <a:ext cx="612000" cy="0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Прямоугольник 121"/>
          <p:cNvSpPr/>
          <p:nvPr>
            <p:custDataLst>
              <p:tags r:id="rId22"/>
            </p:custDataLst>
          </p:nvPr>
        </p:nvSpPr>
        <p:spPr>
          <a:xfrm rot="10800000" flipV="1">
            <a:off x="6414526" y="3448261"/>
            <a:ext cx="598340" cy="1191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ru-RU" sz="12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6:00</a:t>
            </a:r>
            <a:endParaRPr lang="ru-RU" sz="1200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23" name="Прямая со стрелкой 122"/>
          <p:cNvCxnSpPr>
            <a:endCxn id="124" idx="1"/>
          </p:cNvCxnSpPr>
          <p:nvPr/>
        </p:nvCxnSpPr>
        <p:spPr>
          <a:xfrm flipH="1">
            <a:off x="4432131" y="3618915"/>
            <a:ext cx="647766" cy="0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Прямоугольник 123"/>
          <p:cNvSpPr/>
          <p:nvPr>
            <p:custDataLst>
              <p:tags r:id="rId23"/>
            </p:custDataLst>
          </p:nvPr>
        </p:nvSpPr>
        <p:spPr>
          <a:xfrm>
            <a:off x="4432131" y="3448261"/>
            <a:ext cx="748226" cy="3413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ru-RU" sz="12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8:30</a:t>
            </a:r>
            <a:endParaRPr lang="ru-RU" sz="1200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5" name="Скругленный прямоугольник 124"/>
          <p:cNvSpPr/>
          <p:nvPr/>
        </p:nvSpPr>
        <p:spPr>
          <a:xfrm>
            <a:off x="4120468" y="2464424"/>
            <a:ext cx="1499913" cy="140692"/>
          </a:xfrm>
          <a:prstGeom prst="roundRect">
            <a:avLst/>
          </a:prstGeom>
          <a:noFill/>
          <a:ln w="15875">
            <a:solidFill>
              <a:srgbClr val="B43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ru-RU" sz="14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ыктывкар</a:t>
            </a:r>
            <a:endParaRPr lang="ru-RU" sz="1400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8" name="Овал 127"/>
          <p:cNvSpPr/>
          <p:nvPr/>
        </p:nvSpPr>
        <p:spPr>
          <a:xfrm>
            <a:off x="6272777" y="3339035"/>
            <a:ext cx="212376" cy="128299"/>
          </a:xfrm>
          <a:prstGeom prst="ellipse">
            <a:avLst/>
          </a:prstGeom>
          <a:solidFill>
            <a:srgbClr val="B43C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31" name="Скругленный прямоугольник 130"/>
          <p:cNvSpPr/>
          <p:nvPr/>
        </p:nvSpPr>
        <p:spPr>
          <a:xfrm>
            <a:off x="7864419" y="2445646"/>
            <a:ext cx="996784" cy="170237"/>
          </a:xfrm>
          <a:prstGeom prst="roundRect">
            <a:avLst/>
          </a:prstGeom>
          <a:noFill/>
          <a:ln w="15875">
            <a:solidFill>
              <a:srgbClr val="B43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ru-RU" sz="14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осква</a:t>
            </a:r>
            <a:endParaRPr lang="ru-RU" sz="1400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4" name="Скругленный прямоугольник 133"/>
          <p:cNvSpPr/>
          <p:nvPr/>
        </p:nvSpPr>
        <p:spPr>
          <a:xfrm>
            <a:off x="5989618" y="2469328"/>
            <a:ext cx="1390695" cy="130878"/>
          </a:xfrm>
          <a:prstGeom prst="roundRect">
            <a:avLst/>
          </a:prstGeom>
          <a:noFill/>
          <a:ln w="15875">
            <a:solidFill>
              <a:srgbClr val="B43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ru-RU" sz="14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икунь</a:t>
            </a:r>
            <a:endParaRPr lang="ru-RU" sz="1400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933" name="Прямоугольник 37932"/>
          <p:cNvSpPr/>
          <p:nvPr/>
        </p:nvSpPr>
        <p:spPr>
          <a:xfrm>
            <a:off x="4975931" y="4363742"/>
            <a:ext cx="196959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RSEDES </a:t>
            </a:r>
            <a:r>
              <a:rPr lang="ru-RU" sz="12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19 мест</a:t>
            </a:r>
            <a:endParaRPr lang="ru-RU" sz="1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92" name="Прямая соединительная линия 91"/>
          <p:cNvCxnSpPr/>
          <p:nvPr>
            <p:custDataLst>
              <p:tags r:id="rId24"/>
            </p:custDataLst>
          </p:nvPr>
        </p:nvCxnSpPr>
        <p:spPr>
          <a:xfrm>
            <a:off x="226523" y="4839129"/>
            <a:ext cx="8892000" cy="0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 стрелкой 125"/>
          <p:cNvCxnSpPr/>
          <p:nvPr/>
        </p:nvCxnSpPr>
        <p:spPr>
          <a:xfrm flipH="1">
            <a:off x="1145215" y="1005576"/>
            <a:ext cx="1710381" cy="0"/>
          </a:xfrm>
          <a:prstGeom prst="straightConnector1">
            <a:avLst/>
          </a:prstGeom>
          <a:ln w="317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Скругленный прямоугольник 126"/>
          <p:cNvSpPr/>
          <p:nvPr/>
        </p:nvSpPr>
        <p:spPr>
          <a:xfrm>
            <a:off x="132271" y="1250740"/>
            <a:ext cx="1246608" cy="170237"/>
          </a:xfrm>
          <a:prstGeom prst="roundRect">
            <a:avLst/>
          </a:prstGeom>
          <a:noFill/>
          <a:ln w="15875">
            <a:solidFill>
              <a:srgbClr val="B43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ru-RU" sz="1400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осква</a:t>
            </a:r>
            <a:endParaRPr lang="ru-RU" sz="1400" b="1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8" name="Прямоугольник 137"/>
          <p:cNvSpPr/>
          <p:nvPr>
            <p:custDataLst>
              <p:tags r:id="rId25"/>
            </p:custDataLst>
          </p:nvPr>
        </p:nvSpPr>
        <p:spPr>
          <a:xfrm rot="20743869">
            <a:off x="578405" y="1332004"/>
            <a:ext cx="2844000" cy="1552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ru-RU" sz="1200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езд № 376/375</a:t>
            </a:r>
            <a:endParaRPr lang="ru-RU" sz="1200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0" name="Стрелка вправо 139"/>
          <p:cNvSpPr/>
          <p:nvPr/>
        </p:nvSpPr>
        <p:spPr>
          <a:xfrm>
            <a:off x="4713843" y="4251617"/>
            <a:ext cx="184803" cy="432000"/>
          </a:xfrm>
          <a:prstGeom prst="rightArrow">
            <a:avLst>
              <a:gd name="adj1" fmla="val 50000"/>
              <a:gd name="adj2" fmla="val 116347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0000"/>
              </a:solidFill>
            </a:endParaRPr>
          </a:p>
        </p:txBody>
      </p:sp>
      <p:cxnSp>
        <p:nvCxnSpPr>
          <p:cNvPr id="84" name="Прямая со стрелкой 83"/>
          <p:cNvCxnSpPr/>
          <p:nvPr/>
        </p:nvCxnSpPr>
        <p:spPr>
          <a:xfrm flipH="1">
            <a:off x="1129558" y="1760317"/>
            <a:ext cx="1688612" cy="1343"/>
          </a:xfrm>
          <a:prstGeom prst="straightConnector1">
            <a:avLst/>
          </a:prstGeom>
          <a:ln w="317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Прямоугольник 72"/>
          <p:cNvSpPr/>
          <p:nvPr>
            <p:custDataLst>
              <p:tags r:id="rId26"/>
            </p:custDataLst>
          </p:nvPr>
        </p:nvSpPr>
        <p:spPr>
          <a:xfrm>
            <a:off x="701620" y="4652268"/>
            <a:ext cx="8004017" cy="175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ru-RU" sz="1200" i="1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2" name="Овал 81"/>
          <p:cNvSpPr/>
          <p:nvPr/>
        </p:nvSpPr>
        <p:spPr>
          <a:xfrm>
            <a:off x="3566000" y="1005576"/>
            <a:ext cx="252000" cy="156199"/>
          </a:xfrm>
          <a:prstGeom prst="ellipse">
            <a:avLst/>
          </a:prstGeom>
          <a:solidFill>
            <a:srgbClr val="B43C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3" name="Прямоугольник 82"/>
          <p:cNvSpPr/>
          <p:nvPr>
            <p:custDataLst>
              <p:tags r:id="rId27"/>
            </p:custDataLst>
          </p:nvPr>
        </p:nvSpPr>
        <p:spPr>
          <a:xfrm>
            <a:off x="7261945" y="4131518"/>
            <a:ext cx="1962959" cy="189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ru-RU" sz="1100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5" name="Прямоугольник 74"/>
          <p:cNvSpPr/>
          <p:nvPr>
            <p:custDataLst>
              <p:tags r:id="rId28"/>
            </p:custDataLst>
          </p:nvPr>
        </p:nvSpPr>
        <p:spPr>
          <a:xfrm>
            <a:off x="3849866" y="2193708"/>
            <a:ext cx="5258638" cy="15524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ru-RU" sz="1200" b="1" dirty="0" smtClean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хема организации перевозки</a:t>
            </a:r>
            <a:endParaRPr lang="ru-RU" sz="1200" b="1" dirty="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6" name="Скругленный прямоугольник 75"/>
          <p:cNvSpPr/>
          <p:nvPr/>
        </p:nvSpPr>
        <p:spPr>
          <a:xfrm>
            <a:off x="3139098" y="1153528"/>
            <a:ext cx="1390695" cy="194423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 w="15875">
            <a:solidFill>
              <a:srgbClr val="B43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ru-RU" sz="14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ИКУНЬ</a:t>
            </a:r>
            <a:endParaRPr lang="ru-RU" sz="1400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5" name="Овал 94"/>
          <p:cNvSpPr/>
          <p:nvPr/>
        </p:nvSpPr>
        <p:spPr>
          <a:xfrm>
            <a:off x="7907456" y="1591515"/>
            <a:ext cx="252000" cy="156199"/>
          </a:xfrm>
          <a:prstGeom prst="ellipse">
            <a:avLst/>
          </a:prstGeom>
          <a:solidFill>
            <a:srgbClr val="B43C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7526051" y="1747713"/>
            <a:ext cx="1390695" cy="194423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5875">
            <a:solidFill>
              <a:srgbClr val="B43C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ru-RU" sz="14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ЫКТЫВКАР</a:t>
            </a:r>
            <a:endParaRPr lang="ru-RU" sz="1400" dirty="0">
              <a:solidFill>
                <a:prstClr val="black">
                  <a:lumMod val="85000"/>
                  <a:lumOff val="1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456107" y="3329111"/>
            <a:ext cx="1092336" cy="23830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,5 Ч.</a:t>
            </a:r>
            <a:endParaRPr lang="ru-RU" dirty="0"/>
          </a:p>
        </p:txBody>
      </p:sp>
      <p:sp>
        <p:nvSpPr>
          <p:cNvPr id="77" name="Прямоугольник 76"/>
          <p:cNvSpPr/>
          <p:nvPr/>
        </p:nvSpPr>
        <p:spPr>
          <a:xfrm>
            <a:off x="2666473" y="3329111"/>
            <a:ext cx="1092336" cy="23830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6,36 Ч.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6839846" y="4166798"/>
            <a:ext cx="2208714" cy="6608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Стоимость проезда в автотранспорте</a:t>
            </a:r>
          </a:p>
          <a:p>
            <a:pPr algn="ctr"/>
            <a:r>
              <a:rPr lang="ru-RU" sz="2400" dirty="0" smtClean="0"/>
              <a:t>350 руб.</a:t>
            </a:r>
            <a:endParaRPr lang="ru-RU" sz="2400" dirty="0"/>
          </a:p>
        </p:txBody>
      </p:sp>
      <p:pic>
        <p:nvPicPr>
          <p:cNvPr id="63" name="Picture 11" descr="фото поезда 295/296 котлас москва"/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8443" y="1999583"/>
            <a:ext cx="1210366" cy="766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8" descr="фото автобуса мерседес"/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6783" y="1999583"/>
            <a:ext cx="1039705" cy="788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5747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46"/>
          <p:cNvSpPr txBox="1"/>
          <p:nvPr/>
        </p:nvSpPr>
        <p:spPr>
          <a:xfrm>
            <a:off x="1" y="1"/>
            <a:ext cx="91440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Приобретение билетов по сети интернет</a:t>
            </a:r>
            <a:r>
              <a:rPr lang="ru-RU" sz="16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                             </a:t>
            </a: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1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</a:t>
            </a: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3444475680"/>
              </p:ext>
            </p:extLst>
          </p:nvPr>
        </p:nvGraphicFramePr>
        <p:xfrm>
          <a:off x="179512" y="1059582"/>
          <a:ext cx="8856984" cy="2448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2669383183"/>
              </p:ext>
            </p:extLst>
          </p:nvPr>
        </p:nvGraphicFramePr>
        <p:xfrm>
          <a:off x="827584" y="3291830"/>
          <a:ext cx="8208912" cy="16258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1873404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pZYxJaIUu3gB.bKwmC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pZYxJaIUu3gB.bKwmCK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pZYxJaIUu3gB.bKwmCK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pZYxJaIUu3gB.bKwmC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pZYxJaIUu3gB.bKwmCK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pZYxJaIUu3gB.bKwmCK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pZYxJaIUu3gB.bKwmCK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pZYxJaIUu3gB.bKwmCK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pZYxJaIUu3gB.bKwmCK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pZYxJaIUu3gB.bKwmC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sRAhhLOkGej0dIpPzA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pZYxJaIUu3gB.bKwmCK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pZYxJaIUu3gB.bKwmC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pZYxJaIUu3gB.bKwmCK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_SOyn9w2kKUiqNCGbdtQ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pZYxJaIUu3gB.bKwmCK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pZYxJaIUu3gB.bKwmCK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pZYxJaIUu3gB.bKwmC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Zyv1.vNESK8edyOfM3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pZYxJaIUu3gB.bKwmC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pZYxJaIUu3gB.bKwmCK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pZYxJaIUu3gB.bKwmC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pZYxJaIUu3gB.bKwmC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_SOyn9w2kKUiqNCGbdt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pZYxJaIUu3gB.bKwmC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pZYxJaIUu3gB.bKwmCKg"/>
</p:tagLst>
</file>

<file path=ppt/theme/theme1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Тема Office">
  <a:themeElements>
    <a:clrScheme name="Другая 1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E21A1A"/>
      </a:accent1>
      <a:accent2>
        <a:srgbClr val="FFFFFF"/>
      </a:accent2>
      <a:accent3>
        <a:srgbClr val="A3A86B"/>
      </a:accent3>
      <a:accent4>
        <a:srgbClr val="394A58"/>
      </a:accent4>
      <a:accent5>
        <a:srgbClr val="0066A1"/>
      </a:accent5>
      <a:accent6>
        <a:srgbClr val="CECCA0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918</TotalTime>
  <Words>732</Words>
  <Application>Microsoft Office PowerPoint</Application>
  <PresentationFormat>Экран (16:9)</PresentationFormat>
  <Paragraphs>222</Paragraphs>
  <Slides>10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9" baseType="lpstr">
      <vt:lpstr>Arial</vt:lpstr>
      <vt:lpstr>Calibri</vt:lpstr>
      <vt:lpstr>RussianRail G Pro</vt:lpstr>
      <vt:lpstr>Times New Roman</vt:lpstr>
      <vt:lpstr>Verdana</vt:lpstr>
      <vt:lpstr>3_Тема Office</vt:lpstr>
      <vt:lpstr>5_Тема Office</vt:lpstr>
      <vt:lpstr>2_Тема Office</vt:lpstr>
      <vt:lpstr>think-cell Slide</vt:lpstr>
      <vt:lpstr>01 декабря 2016г. Нагишев Андрей Николаевич</vt:lpstr>
      <vt:lpstr>Презентация PowerPoint</vt:lpstr>
      <vt:lpstr>Объем перевозок по территории Республики Коми</vt:lpstr>
      <vt:lpstr>Презентация PowerPoint</vt:lpstr>
      <vt:lpstr>Презентация PowerPoint</vt:lpstr>
      <vt:lpstr>Презентация PowerPoint</vt:lpstr>
      <vt:lpstr>Презентация PowerPoint</vt:lpstr>
      <vt:lpstr>Организация мультимодальных перевозок по маршруту               Сыктывкар – Микунь – Москва                                                                        7</vt:lpstr>
      <vt:lpstr>Презентация PowerPoint</vt:lpstr>
      <vt:lpstr>Презентация PowerPoint</vt:lpstr>
    </vt:vector>
  </TitlesOfParts>
  <Company>FP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Управление организации перевозок</dc:title>
  <dc:creator>Добров Андрей Константинович</dc:creator>
  <cp:lastModifiedBy>РК Союз Промышленников</cp:lastModifiedBy>
  <cp:revision>191</cp:revision>
  <cp:lastPrinted>2016-11-09T11:32:55Z</cp:lastPrinted>
  <dcterms:created xsi:type="dcterms:W3CDTF">2016-10-28T06:28:21Z</dcterms:created>
  <dcterms:modified xsi:type="dcterms:W3CDTF">2016-12-08T07:53:02Z</dcterms:modified>
</cp:coreProperties>
</file>